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2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3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748" r:id="rId2"/>
    <p:sldId id="751" r:id="rId3"/>
    <p:sldId id="758" r:id="rId4"/>
    <p:sldId id="775" r:id="rId5"/>
    <p:sldId id="776" r:id="rId6"/>
  </p:sldIdLst>
  <p:sldSz cx="9144000" cy="6858000" type="screen4x3"/>
  <p:notesSz cx="6669088" cy="9926638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84">
          <p15:clr>
            <a:srgbClr val="A4A3A4"/>
          </p15:clr>
        </p15:guide>
        <p15:guide id="2" orient="horz" pos="4186">
          <p15:clr>
            <a:srgbClr val="A4A3A4"/>
          </p15:clr>
        </p15:guide>
        <p15:guide id="3" orient="horz" pos="432">
          <p15:clr>
            <a:srgbClr val="A4A3A4"/>
          </p15:clr>
        </p15:guide>
        <p15:guide id="4" pos="5613">
          <p15:clr>
            <a:srgbClr val="A4A3A4"/>
          </p15:clr>
        </p15:guide>
        <p15:guide id="5" pos="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1AFFF"/>
    <a:srgbClr val="0065CC"/>
    <a:srgbClr val="F8F1FD"/>
    <a:srgbClr val="1B2257"/>
    <a:srgbClr val="132D47"/>
    <a:srgbClr val="808080"/>
    <a:srgbClr val="002960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preferSingleView="1">
    <p:restoredLeft sz="4754" autoAdjust="0"/>
    <p:restoredTop sz="94620" autoAdjust="0"/>
  </p:normalViewPr>
  <p:slideViewPr>
    <p:cSldViewPr snapToGrid="0" snapToObjects="1">
      <p:cViewPr>
        <p:scale>
          <a:sx n="68" d="100"/>
          <a:sy n="68" d="100"/>
        </p:scale>
        <p:origin x="1656" y="164"/>
      </p:cViewPr>
      <p:guideLst>
        <p:guide orient="horz" pos="684"/>
        <p:guide orient="horz" pos="4186"/>
        <p:guide orient="horz" pos="432"/>
        <p:guide pos="5613"/>
        <p:guide pos="68"/>
      </p:guideLst>
    </p:cSldViewPr>
  </p:slideViewPr>
  <p:outlineViewPr>
    <p:cViewPr>
      <p:scale>
        <a:sx n="33" d="100"/>
        <a:sy n="33" d="100"/>
      </p:scale>
      <p:origin x="0" y="-3272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1" d="100"/>
          <a:sy n="71" d="100"/>
        </p:scale>
        <p:origin x="-2250" y="-102"/>
      </p:cViewPr>
      <p:guideLst>
        <p:guide orient="horz" pos="3127"/>
        <p:guide pos="210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425450" y="622300"/>
            <a:ext cx="5824538" cy="4368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463134" y="5333978"/>
            <a:ext cx="574910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5981405" y="9546303"/>
            <a:ext cx="23083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gray">
          <a:xfrm>
            <a:off x="6212174" y="110741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Tahoma"/>
        <a:ea typeface="Tahoma"/>
        <a:cs typeface="Tahoma"/>
        <a:sym typeface="Tahoma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Tahoma"/>
        <a:ea typeface="Tahoma"/>
        <a:cs typeface="Tahoma"/>
        <a:sym typeface="Tahoma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Tahoma"/>
        <a:ea typeface="Tahoma"/>
        <a:cs typeface="Tahoma"/>
        <a:sym typeface="Tahoma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Tahoma"/>
        <a:ea typeface="Tahoma"/>
        <a:cs typeface="Tahoma"/>
        <a:sym typeface="Tahoma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Tahoma"/>
        <a:ea typeface="Tahoma"/>
        <a:cs typeface="Tahoma"/>
        <a:sym typeface="Tahoma"/>
      </a:defRPr>
    </a:lvl5pPr>
    <a:lvl6pPr marL="2332406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63134" y="5333981"/>
            <a:ext cx="5749105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28881" y="9546303"/>
            <a:ext cx="83356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11657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128883" y="9546304"/>
            <a:ext cx="83356" cy="184666"/>
          </a:xfrm>
          <a:ln/>
        </p:spPr>
        <p:txBody>
          <a:bodyPr/>
          <a:lstStyle/>
          <a:p>
            <a:fld id="{3319BA6C-FAC9-4FE0-8A5B-AFB0375A2055}" type="slidenum">
              <a:rPr lang="en-US"/>
              <a:pPr/>
              <a:t>1</a:t>
            </a:fld>
            <a:endParaRPr lang="en-US"/>
          </a:p>
        </p:txBody>
      </p:sp>
      <p:sp>
        <p:nvSpPr>
          <p:cNvPr id="1968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23863" y="622300"/>
            <a:ext cx="5826125" cy="4370388"/>
          </a:xfrm>
          <a:ln/>
        </p:spPr>
      </p:sp>
      <p:sp>
        <p:nvSpPr>
          <p:cNvPr id="19681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9067" y="5333568"/>
            <a:ext cx="5683749" cy="246221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05340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042321" y="9546303"/>
            <a:ext cx="169918" cy="184666"/>
          </a:xfrm>
          <a:noFill/>
        </p:spPr>
        <p:txBody>
          <a:bodyPr/>
          <a:lstStyle>
            <a:lvl1pPr eaLnBrk="0" hangingPunct="0">
              <a:defRPr sz="1700">
                <a:solidFill>
                  <a:schemeClr val="tx1"/>
                </a:solidFill>
                <a:latin typeface="Arial" charset="0"/>
              </a:defRPr>
            </a:lvl1pPr>
            <a:lvl2pPr marL="769176" indent="-295837" eaLnBrk="0" hangingPunct="0">
              <a:defRPr sz="1700">
                <a:solidFill>
                  <a:schemeClr val="tx1"/>
                </a:solidFill>
                <a:latin typeface="Arial" charset="0"/>
              </a:defRPr>
            </a:lvl2pPr>
            <a:lvl3pPr marL="1183348" indent="-236670" eaLnBrk="0" hangingPunct="0">
              <a:defRPr sz="1700">
                <a:solidFill>
                  <a:schemeClr val="tx1"/>
                </a:solidFill>
                <a:latin typeface="Arial" charset="0"/>
              </a:defRPr>
            </a:lvl3pPr>
            <a:lvl4pPr marL="1656687" indent="-236670" eaLnBrk="0" hangingPunct="0">
              <a:defRPr sz="1700">
                <a:solidFill>
                  <a:schemeClr val="tx1"/>
                </a:solidFill>
                <a:latin typeface="Arial" charset="0"/>
              </a:defRPr>
            </a:lvl4pPr>
            <a:lvl5pPr marL="2130026" indent="-236670" eaLnBrk="0" hangingPunct="0">
              <a:defRPr sz="1700">
                <a:solidFill>
                  <a:schemeClr val="tx1"/>
                </a:solidFill>
                <a:latin typeface="Arial" charset="0"/>
              </a:defRPr>
            </a:lvl5pPr>
            <a:lvl6pPr marL="2603365" indent="-23667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6pPr>
            <a:lvl7pPr marL="3076705" indent="-23667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7pPr>
            <a:lvl8pPr marL="3550044" indent="-23667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8pPr>
            <a:lvl9pPr marL="4023383" indent="-23667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32C2DEB-D949-4B45-BBCA-1A46194AA2CB}" type="slidenum">
              <a:rPr lang="en-US" sz="1200"/>
              <a:pPr eaLnBrk="1" hangingPunct="1"/>
              <a:t>2</a:t>
            </a:fld>
            <a:endParaRPr lang="en-US" sz="1200" dirty="0"/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0060" y="5333981"/>
            <a:ext cx="5683169" cy="246221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912175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5245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 bwMode="ltGray">
          <a:xfrm>
            <a:off x="0" y="0"/>
            <a:ext cx="9144000" cy="6858000"/>
          </a:xfrm>
          <a:prstGeom prst="rect">
            <a:avLst/>
          </a:prstGeom>
          <a:solidFill>
            <a:srgbClr val="5E6A71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6985000" y="1905000"/>
            <a:ext cx="2159000" cy="2159000"/>
          </a:xfrm>
          <a:prstGeom prst="rect">
            <a:avLst/>
          </a:prstGeom>
          <a:solidFill>
            <a:srgbClr val="DFE1E3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21" name="Rectangle 20"/>
          <p:cNvSpPr/>
          <p:nvPr userDrawn="1"/>
        </p:nvSpPr>
        <p:spPr bwMode="ltGray">
          <a:xfrm>
            <a:off x="0" y="1905000"/>
            <a:ext cx="6985000" cy="2159000"/>
          </a:xfrm>
          <a:prstGeom prst="rect">
            <a:avLst/>
          </a:prstGeom>
          <a:solidFill>
            <a:srgbClr val="FFFFFF">
              <a:lumMod val="40000"/>
              <a:lumOff val="6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ahoma"/>
              <a:ea typeface="Tahoma"/>
              <a:cs typeface="Tahoma"/>
              <a:sym typeface="Tahoma"/>
            </a:endParaRPr>
          </a:p>
        </p:txBody>
      </p:sp>
      <p:pic>
        <p:nvPicPr>
          <p:cNvPr id="22" name="Picture 11" descr="QDB-logo-RGB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32688" y="2120900"/>
            <a:ext cx="1063625" cy="172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62219" y="5213989"/>
            <a:ext cx="5036084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solidFill>
                    <a:schemeClr val="bg1"/>
                  </a:solidFill>
                  <a:latin typeface="Tahoma"/>
                  <a:ea typeface="Tahoma"/>
                  <a:cs typeface="Tahoma"/>
                  <a:sym typeface="Tahoma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solidFill>
                    <a:schemeClr val="bg1"/>
                  </a:solidFill>
                  <a:latin typeface="Tahoma"/>
                  <a:ea typeface="Tahoma"/>
                  <a:cs typeface="Tahoma"/>
                  <a:sym typeface="Tahoma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362219" y="2176938"/>
            <a:ext cx="6240712" cy="507831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>
              <a:defRPr sz="3200" b="0" baseline="0">
                <a:latin typeface="Tahoma"/>
                <a:ea typeface="Tahoma"/>
                <a:sym typeface="Tahom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62219" y="3428341"/>
            <a:ext cx="6240712" cy="246221"/>
          </a:xfrm>
        </p:spPr>
        <p:txBody>
          <a:bodyPr wrap="square">
            <a:spAutoFit/>
          </a:bodyPr>
          <a:lstStyle>
            <a:lvl1pPr>
              <a:defRPr sz="1600" baseline="0">
                <a:latin typeface="Tahoma"/>
                <a:ea typeface="Tahoma"/>
                <a:sym typeface="Tahom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4" name="doc id"/>
          <p:cNvSpPr>
            <a:spLocks noChangeArrowheads="1"/>
          </p:cNvSpPr>
          <p:nvPr userDrawn="1"/>
        </p:nvSpPr>
        <p:spPr bwMode="auto">
          <a:xfrm>
            <a:off x="8016186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chemeClr val="bg1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816433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1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>
          <a:xfrm>
            <a:off x="8494440" y="6635431"/>
            <a:ext cx="192360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mtClean="0">
                <a:latin typeface="Tahoma"/>
                <a:ea typeface="Tahoma"/>
                <a:cs typeface="Tahoma"/>
                <a:sym typeface="Tahoma"/>
              </a:rPr>
              <a:pPr lvl="0" algn="r"/>
              <a:t>‹#›</a:t>
            </a:fld>
            <a:endParaRPr lang="en-US" dirty="0">
              <a:latin typeface="Tahoma"/>
              <a:ea typeface="Tahoma"/>
              <a:cs typeface="Tahoma"/>
              <a:sym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834610" y="6618278"/>
            <a:ext cx="199241" cy="155496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/>
            </a:lvl1pPr>
          </a:lstStyle>
          <a:p>
            <a:fld id="{E30E03F5-DF58-4785-AA60-F99C02BDE371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719603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993E7C0E-FC13-4674-A856-B941ABEC0DF4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8719603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E7FC8EEE-00FF-40DA-908C-A9A0B7047659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8719603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332A30F8-DDFA-4FDF-9A03-A234AC98A5EF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719603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A359CA89-6179-4990-9091-5E45BA471D7D}" type="slidenum">
              <a:rPr lang="en-GB" sz="1000" b="0" i="0" baseline="0" smtClean="0"/>
              <a:pPr algn="l"/>
              <a:t>‹#›</a:t>
            </a:fld>
            <a:endParaRPr lang="en-GB" sz="1000" b="0" i="0" baseline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6966CA35-78D0-495D-91C8-DAC74E3B97A7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</p:spTree>
    <p:extLst>
      <p:ext uri="{BB962C8B-B14F-4D97-AF65-F5344CB8AC3E}">
        <p14:creationId xmlns:p14="http://schemas.microsoft.com/office/powerpoint/2010/main" val="2122487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2.png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045733784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535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/>
          <p:cNvSpPr/>
          <p:nvPr/>
        </p:nvSpPr>
        <p:spPr bwMode="auto">
          <a:xfrm>
            <a:off x="0" y="360363"/>
            <a:ext cx="9144000" cy="730250"/>
          </a:xfrm>
          <a:prstGeom prst="rect">
            <a:avLst/>
          </a:prstGeom>
          <a:solidFill>
            <a:srgbClr val="DFE1E3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16186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rgbClr val="000000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3044" y="2760688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8" y="540822"/>
            <a:ext cx="726108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104536"/>
            <a:ext cx="75020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Tahoma"/>
                <a:ea typeface="Tahoma"/>
                <a:cs typeface="Tahoma"/>
                <a:sym typeface="Tahom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1092994"/>
            <a:ext cx="726108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Tahoma"/>
                <a:ea typeface="Tahoma"/>
                <a:cs typeface="Tahoma"/>
                <a:sym typeface="Tahoma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8" y="6405454"/>
            <a:ext cx="8722840" cy="383882"/>
            <a:chOff x="75" y="3942"/>
            <a:chExt cx="5385" cy="23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42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9538" indent="-109538">
                <a:defRPr/>
              </a:pPr>
              <a:r>
                <a:rPr lang="en-US" sz="1000" baseline="0" noProof="0" dirty="0" smtClean="0">
                  <a:latin typeface="Tahoma"/>
                  <a:ea typeface="Tahoma"/>
                  <a:cs typeface="Tahoma"/>
                  <a:sym typeface="Tahoma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84"/>
              <a:ext cx="5000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555625" indent="-555625" defTabSz="913526">
                <a:tabLst>
                  <a:tab pos="560388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Tahoma"/>
                  <a:ea typeface="Tahoma"/>
                  <a:cs typeface="Tahoma"/>
                  <a:sym typeface="Tahoma"/>
                </a:rPr>
                <a:t>SOURCE: </a:t>
              </a:r>
              <a:r>
                <a:rPr lang="en-US" sz="1000" baseline="0" noProof="0" dirty="0" smtClean="0">
                  <a:solidFill>
                    <a:schemeClr val="tx1"/>
                  </a:solidFill>
                  <a:latin typeface="Tahoma"/>
                  <a:ea typeface="Tahoma"/>
                  <a:cs typeface="Tahoma"/>
                  <a:sym typeface="Tahoma"/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3044" y="2111856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Tahoma"/>
                  <a:ea typeface="Tahoma"/>
                  <a:cs typeface="Tahoma"/>
                  <a:sym typeface="Tahom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Tahoma"/>
                  <a:ea typeface="Tahoma"/>
                  <a:cs typeface="Tahoma"/>
                  <a:sym typeface="Tahoma"/>
                </a:rPr>
                <a:t>Unit of measure</a:t>
              </a: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7923212" y="1146969"/>
            <a:ext cx="763588" cy="996951"/>
            <a:chOff x="4936" y="176"/>
            <a:chExt cx="481" cy="628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Tahoma"/>
                  <a:ea typeface="Tahoma"/>
                  <a:cs typeface="Tahoma" pitchFamily="34" charset="0"/>
                  <a:sym typeface="Tahoma"/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Tahoma"/>
                <a:ea typeface="Tahoma"/>
                <a:cs typeface="Tahoma" pitchFamily="34" charset="0"/>
                <a:sym typeface="Tahoma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Tahoma"/>
                  <a:ea typeface="Tahoma"/>
                  <a:cs typeface="Tahoma" pitchFamily="34" charset="0"/>
                  <a:sym typeface="Tahoma"/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Tahoma"/>
                <a:ea typeface="Tahoma"/>
                <a:cs typeface="Tahoma" pitchFamily="34" charset="0"/>
                <a:sym typeface="Tahoma"/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Tahoma"/>
                  <a:ea typeface="Tahoma"/>
                  <a:cs typeface="Tahoma" pitchFamily="34" charset="0"/>
                  <a:sym typeface="Tahoma"/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Tahoma"/>
                <a:ea typeface="Tahoma"/>
                <a:cs typeface="Tahoma" pitchFamily="34" charset="0"/>
                <a:sym typeface="Tahoma"/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Tahoma"/>
                  <a:ea typeface="Tahoma"/>
                  <a:cs typeface="Tahoma" pitchFamily="34" charset="0"/>
                  <a:sym typeface="Tahoma"/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Tahoma"/>
                <a:ea typeface="Tahoma"/>
                <a:cs typeface="Tahoma" pitchFamily="34" charset="0"/>
                <a:sym typeface="Tahoma"/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7615237" y="1146969"/>
            <a:ext cx="1071563" cy="730251"/>
            <a:chOff x="4750" y="176"/>
            <a:chExt cx="675" cy="4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Tahoma"/>
                <a:ea typeface="Tahoma"/>
                <a:cs typeface="Tahoma" pitchFamily="34" charset="0"/>
                <a:sym typeface="Tahom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Tahoma"/>
                <a:ea typeface="Tahoma"/>
                <a:cs typeface="Tahoma" pitchFamily="34" charset="0"/>
                <a:sym typeface="Tahom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Tahoma"/>
                <a:ea typeface="Tahoma"/>
                <a:cs typeface="Tahoma" pitchFamily="34" charset="0"/>
                <a:sym typeface="Tahom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Tahoma"/>
                  <a:ea typeface="Tahoma"/>
                  <a:cs typeface="Tahoma" pitchFamily="34" charset="0"/>
                  <a:sym typeface="Tahom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Tahoma"/>
                  <a:ea typeface="Tahoma"/>
                  <a:cs typeface="Tahoma" pitchFamily="34" charset="0"/>
                  <a:sym typeface="Tahom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Tahoma"/>
                  <a:ea typeface="Tahoma"/>
                  <a:cs typeface="Tahoma" pitchFamily="34" charset="0"/>
                  <a:sym typeface="Tahoma"/>
                </a:rPr>
                <a:t>Legend</a:t>
              </a:r>
            </a:p>
          </p:txBody>
        </p:sp>
      </p:grpSp>
      <p:grpSp>
        <p:nvGrpSpPr>
          <p:cNvPr id="42" name="McKSticker" hidden="1"/>
          <p:cNvGrpSpPr/>
          <p:nvPr/>
        </p:nvGrpSpPr>
        <p:grpSpPr bwMode="auto">
          <a:xfrm>
            <a:off x="7701851" y="1146969"/>
            <a:ext cx="984949" cy="212366"/>
            <a:chOff x="7755826" y="285750"/>
            <a:chExt cx="984949" cy="212366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755826" y="285750"/>
              <a:ext cx="984949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Tahoma"/>
                  <a:ea typeface="Tahoma"/>
                  <a:cs typeface="Tahoma" pitchFamily="34" charset="0"/>
                  <a:sym typeface="Tahoma"/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755826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755826" y="498116"/>
              <a:ext cx="98494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/>
          <p:nvPr/>
        </p:nvGrpSpPr>
        <p:grpSpPr bwMode="auto">
          <a:xfrm>
            <a:off x="7856370" y="1146969"/>
            <a:ext cx="830430" cy="1306516"/>
            <a:chOff x="6655594" y="273840"/>
            <a:chExt cx="830430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Tahoma"/>
                  <a:ea typeface="Tahoma"/>
                  <a:cs typeface="Tahoma" pitchFamily="34" charset="0"/>
                  <a:sym typeface="Tahoma"/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Tahoma"/>
                  <a:ea typeface="Tahoma"/>
                  <a:cs typeface="Tahoma" pitchFamily="34" charset="0"/>
                  <a:sym typeface="Tahoma"/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Tahoma"/>
                  <a:ea typeface="Tahoma"/>
                  <a:cs typeface="Tahoma" pitchFamily="34" charset="0"/>
                  <a:sym typeface="Tahoma"/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Tahoma"/>
                  <a:ea typeface="Tahoma"/>
                  <a:cs typeface="Tahoma" pitchFamily="34" charset="0"/>
                  <a:sym typeface="Tahoma"/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Tahoma"/>
                  <a:ea typeface="Tahoma"/>
                  <a:cs typeface="Tahoma" pitchFamily="34" charset="0"/>
                  <a:sym typeface="Tahoma"/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Tahoma"/>
                  <a:ea typeface="Tahoma"/>
                  <a:cs typeface="Tahoma" pitchFamily="34" charset="0"/>
                  <a:sym typeface="Tahoma"/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Tahoma"/>
                  <a:ea typeface="Tahoma"/>
                  <a:cs typeface="Tahoma" pitchFamily="34" charset="0"/>
                  <a:sym typeface="Tahoma"/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Tahoma"/>
                  <a:ea typeface="Tahoma"/>
                  <a:cs typeface="Tahoma" pitchFamily="34" charset="0"/>
                  <a:sym typeface="Tahoma"/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Tahoma"/>
                  <a:ea typeface="Tahoma"/>
                  <a:cs typeface="Tahoma" pitchFamily="34" charset="0"/>
                  <a:sym typeface="Tahoma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Tahoma"/>
                  <a:ea typeface="Tahoma"/>
                  <a:cs typeface="Tahoma" pitchFamily="34" charset="0"/>
                  <a:sym typeface="Tahoma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Tahoma"/>
                  <a:ea typeface="Tahoma"/>
                  <a:cs typeface="Tahoma" pitchFamily="34" charset="0"/>
                  <a:sym typeface="Tahoma"/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Tahoma"/>
                  <a:ea typeface="Tahoma"/>
                  <a:cs typeface="Tahoma" pitchFamily="34" charset="0"/>
                  <a:sym typeface="Tahoma"/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Tahoma"/>
                  <a:ea typeface="Tahoma"/>
                  <a:cs typeface="Tahoma" pitchFamily="34" charset="0"/>
                  <a:sym typeface="Tahoma"/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Tahoma"/>
                  <a:ea typeface="Tahoma"/>
                  <a:cs typeface="Tahoma" pitchFamily="34" charset="0"/>
                  <a:sym typeface="Tahom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Tahoma"/>
                  <a:ea typeface="Tahoma"/>
                  <a:cs typeface="Tahoma" pitchFamily="34" charset="0"/>
                  <a:sym typeface="Tahoma"/>
                </a:endParaRPr>
              </a:p>
            </p:txBody>
          </p:sp>
        </p:grpSp>
      </p:grpSp>
      <p:pic>
        <p:nvPicPr>
          <p:cNvPr id="67" name="Picture 11" descr="QDB-logo-RGB.png"/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10447" y="363626"/>
            <a:ext cx="435375" cy="706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400" b="0" baseline="0">
          <a:solidFill>
            <a:schemeClr val="accent3"/>
          </a:solidFill>
          <a:latin typeface="Tahoma"/>
          <a:ea typeface="Tahoma"/>
          <a:cs typeface="Tahoma"/>
          <a:sym typeface="Tahoma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Tahoma"/>
          <a:ea typeface="Tahoma"/>
          <a:cs typeface="Tahoma"/>
          <a:sym typeface="Tahoma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Tahoma"/>
          <a:ea typeface="Tahoma"/>
          <a:cs typeface="Tahoma"/>
          <a:sym typeface="Tahoma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Tahoma"/>
          <a:ea typeface="Tahoma"/>
          <a:cs typeface="Tahoma"/>
          <a:sym typeface="Tahoma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Tahoma"/>
          <a:ea typeface="Tahoma"/>
          <a:cs typeface="Tahoma"/>
          <a:sym typeface="Tahoma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Tahoma"/>
          <a:ea typeface="Tahoma"/>
          <a:cs typeface="Tahoma"/>
          <a:sym typeface="Tahoma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slideLayout" Target="../slideLayouts/slideLayout2.xml"/><Relationship Id="rId3" Type="http://schemas.openxmlformats.org/officeDocument/2006/relationships/tags" Target="../tags/tag22.xml"/><Relationship Id="rId21" Type="http://schemas.openxmlformats.org/officeDocument/2006/relationships/tags" Target="../tags/tag40.xml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tags" Target="../tags/tag44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tags" Target="../tags/tag39.xml"/><Relationship Id="rId29" Type="http://schemas.openxmlformats.org/officeDocument/2006/relationships/oleObject" Target="../embeddings/oleObject6.bin"/><Relationship Id="rId1" Type="http://schemas.openxmlformats.org/officeDocument/2006/relationships/vmlDrawing" Target="../drawings/vmlDrawing5.v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tags" Target="../tags/tag43.xml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tags" Target="../tags/tag42.xml"/><Relationship Id="rId28" Type="http://schemas.openxmlformats.org/officeDocument/2006/relationships/oleObject" Target="../embeddings/oleObject5.bin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tags" Target="../tags/tag41.xml"/><Relationship Id="rId27" Type="http://schemas.openxmlformats.org/officeDocument/2006/relationships/notesSlide" Target="../notesSlides/notesSlide2.xml"/><Relationship Id="rId30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56.xml"/><Relationship Id="rId18" Type="http://schemas.openxmlformats.org/officeDocument/2006/relationships/tags" Target="../tags/tag61.xml"/><Relationship Id="rId26" Type="http://schemas.openxmlformats.org/officeDocument/2006/relationships/image" Target="../media/image10.png"/><Relationship Id="rId21" Type="http://schemas.openxmlformats.org/officeDocument/2006/relationships/oleObject" Target="../embeddings/oleObject7.bin"/><Relationship Id="rId34" Type="http://schemas.openxmlformats.org/officeDocument/2006/relationships/image" Target="../media/image18.png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5" Type="http://schemas.openxmlformats.org/officeDocument/2006/relationships/image" Target="../media/image9.png"/><Relationship Id="rId33" Type="http://schemas.openxmlformats.org/officeDocument/2006/relationships/image" Target="../media/image17.png"/><Relationship Id="rId2" Type="http://schemas.openxmlformats.org/officeDocument/2006/relationships/tags" Target="../tags/tag45.xml"/><Relationship Id="rId16" Type="http://schemas.openxmlformats.org/officeDocument/2006/relationships/tags" Target="../tags/tag59.xml"/><Relationship Id="rId20" Type="http://schemas.openxmlformats.org/officeDocument/2006/relationships/notesSlide" Target="../notesSlides/notesSlide3.xml"/><Relationship Id="rId29" Type="http://schemas.openxmlformats.org/officeDocument/2006/relationships/image" Target="../media/image13.png"/><Relationship Id="rId1" Type="http://schemas.openxmlformats.org/officeDocument/2006/relationships/vmlDrawing" Target="../drawings/vmlDrawing6.v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24" Type="http://schemas.openxmlformats.org/officeDocument/2006/relationships/image" Target="../media/image8.png"/><Relationship Id="rId32" Type="http://schemas.openxmlformats.org/officeDocument/2006/relationships/image" Target="../media/image16.png"/><Relationship Id="rId37" Type="http://schemas.openxmlformats.org/officeDocument/2006/relationships/image" Target="../media/image21.png"/><Relationship Id="rId5" Type="http://schemas.openxmlformats.org/officeDocument/2006/relationships/tags" Target="../tags/tag48.xml"/><Relationship Id="rId15" Type="http://schemas.openxmlformats.org/officeDocument/2006/relationships/tags" Target="../tags/tag58.xml"/><Relationship Id="rId23" Type="http://schemas.openxmlformats.org/officeDocument/2006/relationships/image" Target="../media/image7.png"/><Relationship Id="rId28" Type="http://schemas.openxmlformats.org/officeDocument/2006/relationships/image" Target="../media/image12.png"/><Relationship Id="rId36" Type="http://schemas.openxmlformats.org/officeDocument/2006/relationships/image" Target="../media/image20.png"/><Relationship Id="rId10" Type="http://schemas.openxmlformats.org/officeDocument/2006/relationships/tags" Target="../tags/tag53.xml"/><Relationship Id="rId19" Type="http://schemas.openxmlformats.org/officeDocument/2006/relationships/slideLayout" Target="../slideLayouts/slideLayout2.xml"/><Relationship Id="rId31" Type="http://schemas.openxmlformats.org/officeDocument/2006/relationships/image" Target="../media/image15.png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Relationship Id="rId22" Type="http://schemas.openxmlformats.org/officeDocument/2006/relationships/image" Target="../media/image3.emf"/><Relationship Id="rId27" Type="http://schemas.openxmlformats.org/officeDocument/2006/relationships/image" Target="../media/image11.png"/><Relationship Id="rId30" Type="http://schemas.openxmlformats.org/officeDocument/2006/relationships/image" Target="../media/image14.png"/><Relationship Id="rId35" Type="http://schemas.openxmlformats.org/officeDocument/2006/relationships/image" Target="../media/image19.png"/><Relationship Id="rId8" Type="http://schemas.openxmlformats.org/officeDocument/2006/relationships/tags" Target="../tags/tag51.xml"/><Relationship Id="rId3" Type="http://schemas.openxmlformats.org/officeDocument/2006/relationships/tags" Target="../tags/tag4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410109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2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332" name="Picture 13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266701"/>
            <a:ext cx="9151938" cy="474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11" descr="QDB-logo-RGB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379747" y="491907"/>
            <a:ext cx="1241172" cy="2015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McK Document type"/>
          <p:cNvSpPr txBox="1">
            <a:spLocks noChangeArrowheads="1"/>
          </p:cNvSpPr>
          <p:nvPr/>
        </p:nvSpPr>
        <p:spPr bwMode="gray">
          <a:xfrm>
            <a:off x="3801515" y="5213989"/>
            <a:ext cx="5036084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bg1"/>
                </a:solidFill>
                <a:latin typeface="Tahoma"/>
                <a:ea typeface="Tahoma"/>
                <a:cs typeface="Tahoma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algn="r"/>
            <a:r>
              <a:rPr lang="en-US" dirty="0" smtClean="0">
                <a:sym typeface="Tahoma"/>
              </a:rPr>
              <a:t>Khalid Al Mana</a:t>
            </a:r>
            <a:endParaRPr lang="en-US" dirty="0">
              <a:sym typeface="Tahoma"/>
            </a:endParaRPr>
          </a:p>
        </p:txBody>
      </p:sp>
      <p:sp>
        <p:nvSpPr>
          <p:cNvPr id="11" name="McK Date"/>
          <p:cNvSpPr txBox="1">
            <a:spLocks noChangeArrowheads="1"/>
          </p:cNvSpPr>
          <p:nvPr/>
        </p:nvSpPr>
        <p:spPr bwMode="gray">
          <a:xfrm>
            <a:off x="3801515" y="5487726"/>
            <a:ext cx="5036084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bg1"/>
                </a:solidFill>
                <a:latin typeface="Tahoma"/>
                <a:ea typeface="Tahoma"/>
                <a:cs typeface="Tahoma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algn="r"/>
            <a:r>
              <a:rPr lang="en-US" dirty="0" smtClean="0">
                <a:sym typeface="Tahoma"/>
              </a:rPr>
              <a:t>October 8th, </a:t>
            </a:r>
            <a:r>
              <a:rPr lang="en-US" dirty="0">
                <a:sym typeface="Tahoma"/>
              </a:rPr>
              <a:t>2015</a:t>
            </a: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158750" y="5213989"/>
            <a:ext cx="6240712" cy="1107996"/>
          </a:xfrm>
        </p:spPr>
        <p:txBody>
          <a:bodyPr/>
          <a:lstStyle/>
          <a:p>
            <a:r>
              <a:rPr lang="en-US" sz="2400" dirty="0" smtClean="0">
                <a:solidFill>
                  <a:schemeClr val="bg1"/>
                </a:solidFill>
              </a:rPr>
              <a:t>QDB </a:t>
            </a:r>
            <a:r>
              <a:rPr lang="en-US" sz="2400" dirty="0" smtClean="0">
                <a:solidFill>
                  <a:schemeClr val="bg1"/>
                </a:solidFill>
              </a:rPr>
              <a:t>PRESENTATION</a:t>
            </a:r>
            <a:br>
              <a:rPr lang="en-US" sz="2400" dirty="0" smtClean="0">
                <a:solidFill>
                  <a:schemeClr val="bg1"/>
                </a:solidFill>
              </a:rPr>
            </a:br>
            <a:r>
              <a:rPr lang="en-US" sz="2400" dirty="0" smtClean="0">
                <a:solidFill>
                  <a:schemeClr val="bg1"/>
                </a:solidFill>
              </a:rPr>
              <a:t>ALIDE HQ</a:t>
            </a:r>
            <a:br>
              <a:rPr lang="en-US" sz="2400" dirty="0" smtClean="0">
                <a:solidFill>
                  <a:schemeClr val="bg1"/>
                </a:solidFill>
              </a:rPr>
            </a:br>
            <a:r>
              <a:rPr lang="en-US" sz="2400" dirty="0" smtClean="0">
                <a:solidFill>
                  <a:schemeClr val="bg1"/>
                </a:solidFill>
              </a:rPr>
              <a:t>LIMA, PERU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9832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67106" name="Rectangle 2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71292326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402" name="think-cell Slide" r:id="rId28" imgW="0" imgH="0" progId="TCLayout.ActiveDocument.1">
                  <p:embed/>
                </p:oleObj>
              </mc:Choice>
              <mc:Fallback>
                <p:oleObj name="think-cell Slide" r:id="rId28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1967125" name="AutoShape 21"/>
          <p:cNvSpPr>
            <a:spLocks noChangeArrowheads="1"/>
          </p:cNvSpPr>
          <p:nvPr/>
        </p:nvSpPr>
        <p:spPr bwMode="gray">
          <a:xfrm>
            <a:off x="1368552" y="1819275"/>
            <a:ext cx="6561641" cy="408311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lIns="93296" tIns="46648" rIns="93296" bIns="46648" anchor="ctr">
            <a:noAutofit/>
          </a:bodyPr>
          <a:lstStyle/>
          <a:p>
            <a:pPr algn="ctr"/>
            <a:endParaRPr lang="en-GB" sz="900"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1967108" name="McK 5. Source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21488" y="6635459"/>
            <a:ext cx="8099201" cy="153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555625" indent="-555625" defTabSz="913526">
              <a:tabLst>
                <a:tab pos="560388" algn="l"/>
              </a:tabLst>
            </a:pPr>
            <a:r>
              <a:rPr lang="en-GB" sz="1000">
                <a:latin typeface="Tahoma"/>
                <a:ea typeface="Tahoma"/>
                <a:cs typeface="Tahoma"/>
                <a:sym typeface="Tahoma"/>
              </a:rPr>
              <a:t>SOURCE: Qatar Statistics Authority, WMM Global Insight</a:t>
            </a:r>
          </a:p>
        </p:txBody>
      </p:sp>
      <p:sp>
        <p:nvSpPr>
          <p:cNvPr id="1967109" name="McK 4. Footnote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21488" y="6405454"/>
            <a:ext cx="8722840" cy="153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109538" indent="-109538" defTabSz="895350">
              <a:defRPr sz="1000" baseline="0">
                <a:latin typeface="Tahoma"/>
                <a:ea typeface="Tahoma"/>
                <a:cs typeface="Tahoma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>
                <a:sym typeface="Tahoma"/>
              </a:rPr>
              <a:t>1 Other resource-based economies include: Mexico, Canada, Netherlands, Norway and Indonesia</a:t>
            </a:r>
            <a:endParaRPr lang="en-GB" dirty="0">
              <a:sym typeface="Tahoma"/>
            </a:endParaRPr>
          </a:p>
        </p:txBody>
      </p:sp>
      <p:cxnSp>
        <p:nvCxnSpPr>
          <p:cNvPr id="16" name="Straight Connector 15"/>
          <p:cNvCxnSpPr/>
          <p:nvPr>
            <p:custDataLst>
              <p:tags r:id="rId7"/>
            </p:custDataLst>
          </p:nvPr>
        </p:nvCxnSpPr>
        <p:spPr bwMode="gray">
          <a:xfrm>
            <a:off x="5978525" y="2271713"/>
            <a:ext cx="44767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8"/>
            </p:custDataLst>
          </p:nvPr>
        </p:nvCxnSpPr>
        <p:spPr bwMode="gray">
          <a:xfrm flipV="1">
            <a:off x="4416425" y="3776663"/>
            <a:ext cx="447675" cy="84772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9"/>
            </p:custDataLst>
          </p:nvPr>
        </p:nvCxnSpPr>
        <p:spPr bwMode="gray">
          <a:xfrm>
            <a:off x="4416425" y="2271713"/>
            <a:ext cx="44767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10"/>
            </p:custDataLst>
          </p:nvPr>
        </p:nvCxnSpPr>
        <p:spPr bwMode="gray">
          <a:xfrm flipV="1">
            <a:off x="2854325" y="4624388"/>
            <a:ext cx="447675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>
            <p:custDataLst>
              <p:tags r:id="rId11"/>
            </p:custDataLst>
          </p:nvPr>
        </p:nvCxnSpPr>
        <p:spPr bwMode="gray">
          <a:xfrm>
            <a:off x="2854325" y="2271713"/>
            <a:ext cx="44767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12"/>
            </p:custDataLst>
          </p:nvPr>
        </p:nvCxnSpPr>
        <p:spPr bwMode="gray">
          <a:xfrm flipV="1">
            <a:off x="5978525" y="3500438"/>
            <a:ext cx="447675" cy="27622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67116" name="Object 12"/>
          <p:cNvGraphicFramePr>
            <a:graphicFrameLocks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52752313"/>
              </p:ext>
            </p:extLst>
          </p:nvPr>
        </p:nvGraphicFramePr>
        <p:xfrm>
          <a:off x="1425575" y="2176463"/>
          <a:ext cx="6448543" cy="28193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403" name="Chart" r:id="rId29" imgW="6448357" imgH="2819490" progId="MSGraph.Chart.8">
                  <p:embed followColorScheme="full"/>
                </p:oleObj>
              </mc:Choice>
              <mc:Fallback>
                <p:oleObj name="Chart" r:id="rId29" imgW="6448357" imgH="281949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0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425575" y="2176463"/>
                        <a:ext cx="6448543" cy="281935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67122" name="Rectangle 18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6426200" y="5033963"/>
            <a:ext cx="5111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GB" dirty="0">
                <a:latin typeface="Tahoma"/>
                <a:ea typeface="Tahoma"/>
                <a:cs typeface="Tahoma"/>
                <a:sym typeface="Tahoma"/>
              </a:rPr>
              <a:t>Qatar</a:t>
            </a:r>
          </a:p>
        </p:txBody>
      </p:sp>
      <p:sp>
        <p:nvSpPr>
          <p:cNvPr id="1967119" name="Rectangle 15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5226050" y="5033963"/>
            <a:ext cx="3921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GB" dirty="0" err="1">
                <a:latin typeface="Tahoma"/>
                <a:ea typeface="Tahoma"/>
                <a:cs typeface="Tahoma"/>
                <a:sym typeface="Tahoma"/>
              </a:rPr>
              <a:t>GCC</a:t>
            </a:r>
            <a:endParaRPr lang="en-GB" baseline="30000" dirty="0"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1967118" name="Rectangle 14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5265738" y="4178300"/>
            <a:ext cx="3111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A54AF86C-5676-483E-AA61-C7B2EDDA8C61}" type="datetime'''''''''''''''''''''''''''''''''''4''''''''''1'''''''''">
              <a:rPr lang="en-US" b="1">
                <a:solidFill>
                  <a:schemeClr val="bg1"/>
                </a:solidFill>
                <a:latin typeface="Tahoma"/>
                <a:ea typeface="Tahoma"/>
                <a:cs typeface="Tahoma"/>
                <a:sym typeface="Tahoma"/>
              </a:rPr>
              <a:pPr/>
              <a:t>41</a:t>
            </a:fld>
            <a:endParaRPr lang="en-GB" b="1">
              <a:solidFill>
                <a:schemeClr val="bg1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1967120" name="Rectangle 16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3302001" y="5033963"/>
            <a:ext cx="1381125" cy="733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GB" dirty="0" smtClean="0">
                <a:latin typeface="Tahoma"/>
                <a:ea typeface="Tahoma"/>
                <a:cs typeface="Tahoma"/>
                <a:sym typeface="Tahoma"/>
              </a:rPr>
              <a:t>Other</a:t>
            </a:r>
            <a:br>
              <a:rPr lang="en-GB" dirty="0" smtClean="0">
                <a:latin typeface="Tahoma"/>
                <a:ea typeface="Tahoma"/>
                <a:cs typeface="Tahoma"/>
                <a:sym typeface="Tahoma"/>
              </a:rPr>
            </a:br>
            <a:r>
              <a:rPr lang="en-GB" dirty="0" smtClean="0">
                <a:latin typeface="Tahoma"/>
                <a:ea typeface="Tahoma"/>
                <a:cs typeface="Tahoma"/>
                <a:sym typeface="Tahoma"/>
              </a:rPr>
              <a:t>resource-based economies</a:t>
            </a:r>
            <a:r>
              <a:rPr lang="en-GB" baseline="30000" dirty="0" smtClean="0">
                <a:latin typeface="Tahoma"/>
                <a:ea typeface="Tahoma"/>
                <a:cs typeface="Tahoma"/>
                <a:sym typeface="Tahoma"/>
              </a:rPr>
              <a:t>1</a:t>
            </a:r>
            <a:endParaRPr lang="en-GB" baseline="30000" dirty="0"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1967121" name="Rectangle 17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3768725" y="4602163"/>
            <a:ext cx="1809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A70235F7-F2C2-4B3E-8913-C14A463323F2}" type="datetime'''''''''8'''''''''''''''''''''''''">
              <a:rPr lang="en-US" b="1">
                <a:solidFill>
                  <a:schemeClr val="bg1"/>
                </a:solidFill>
                <a:latin typeface="Tahoma"/>
                <a:ea typeface="Tahoma"/>
                <a:cs typeface="Tahoma"/>
                <a:sym typeface="Tahoma"/>
              </a:rPr>
              <a:pPr/>
              <a:t>8</a:t>
            </a:fld>
            <a:endParaRPr lang="en-GB" b="1">
              <a:solidFill>
                <a:schemeClr val="bg1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1967124" name="Rectangle 20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1739900" y="5033963"/>
            <a:ext cx="25876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GB" dirty="0">
                <a:latin typeface="Tahoma"/>
                <a:ea typeface="Tahoma"/>
                <a:cs typeface="Tahoma"/>
                <a:sym typeface="Tahoma"/>
              </a:rPr>
              <a:t>G7</a:t>
            </a:r>
            <a:endParaRPr lang="en-GB" baseline="30000" dirty="0"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1967123" name="Rectangle 19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2206625" y="4687888"/>
            <a:ext cx="180975" cy="2444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1C88E8DB-1DF8-46F1-8539-1FF8901EEBE3}" type="datetime'''''''''''''1'''''''''''">
              <a:rPr lang="en-US" b="1">
                <a:solidFill>
                  <a:schemeClr val="bg1"/>
                </a:solidFill>
                <a:latin typeface="Tahoma"/>
                <a:ea typeface="Tahoma"/>
                <a:cs typeface="Tahoma"/>
                <a:sym typeface="Tahoma"/>
              </a:rPr>
              <a:pPr/>
              <a:t>1</a:t>
            </a:fld>
            <a:endParaRPr lang="en-GB" b="1">
              <a:solidFill>
                <a:schemeClr val="bg1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1967117" name="Rectangle 13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6827838" y="4040188"/>
            <a:ext cx="3111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400" tIns="0" rIns="25400" bIns="0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77F4D5EB-F1DB-479F-B908-0B9435DC2EFD}" type="datetime'''''''''''''''''''''''''''5''''''''2'''''''''''''''''''''">
              <a:rPr lang="en-US" b="1">
                <a:solidFill>
                  <a:schemeClr val="bg1"/>
                </a:solidFill>
                <a:latin typeface="Tahoma"/>
                <a:ea typeface="Tahoma"/>
                <a:cs typeface="Tahoma"/>
                <a:sym typeface="Tahoma"/>
              </a:rPr>
              <a:pPr/>
              <a:t>52</a:t>
            </a:fld>
            <a:endParaRPr lang="en-GB" b="1">
              <a:solidFill>
                <a:schemeClr val="bg1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1967127" name="Rectangle 23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7326313" y="1912938"/>
            <a:ext cx="165100" cy="165100"/>
          </a:xfrm>
          <a:prstGeom prst="rect">
            <a:avLst/>
          </a:prstGeom>
          <a:solidFill>
            <a:schemeClr val="tx2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GB"/>
          </a:p>
        </p:txBody>
      </p:sp>
      <p:sp>
        <p:nvSpPr>
          <p:cNvPr id="1967128" name="Rectangle 24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6378575" y="1912938"/>
            <a:ext cx="165100" cy="165100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GB"/>
          </a:p>
        </p:txBody>
      </p:sp>
      <p:sp>
        <p:nvSpPr>
          <p:cNvPr id="1967130" name="Rectangle 26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7593013" y="1911350"/>
            <a:ext cx="1778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GB" sz="1200">
                <a:latin typeface="Tahoma"/>
                <a:ea typeface="Tahoma"/>
                <a:cs typeface="Tahoma"/>
                <a:sym typeface="Tahoma"/>
              </a:rPr>
              <a:t>Oil</a:t>
            </a:r>
          </a:p>
        </p:txBody>
      </p:sp>
      <p:sp>
        <p:nvSpPr>
          <p:cNvPr id="1967129" name="Rectangle 25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6645275" y="1911350"/>
            <a:ext cx="4778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GB" sz="1200">
                <a:latin typeface="Tahoma"/>
                <a:ea typeface="Tahoma"/>
                <a:cs typeface="Tahoma"/>
                <a:sym typeface="Tahoma"/>
              </a:rPr>
              <a:t>Non-oil</a:t>
            </a:r>
          </a:p>
        </p:txBody>
      </p:sp>
      <p:sp>
        <p:nvSpPr>
          <p:cNvPr id="1967131" name="Rectangle 27"/>
          <p:cNvSpPr>
            <a:spLocks noGrp="1" noChangeArrowheads="1"/>
          </p:cNvSpPr>
          <p:nvPr>
            <p:ph type="title"/>
          </p:nvPr>
        </p:nvSpPr>
        <p:spPr bwMode="gray">
          <a:xfrm>
            <a:off x="121488" y="356156"/>
            <a:ext cx="7261088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GB" dirty="0"/>
              <a:t>Qatar’s economy is highly dependent on oil compared to other countries</a:t>
            </a:r>
          </a:p>
        </p:txBody>
      </p:sp>
      <p:sp>
        <p:nvSpPr>
          <p:cNvPr id="30" name="McK 3. Unit of measure"/>
          <p:cNvSpPr txBox="1">
            <a:spLocks noChangeArrowheads="1"/>
          </p:cNvSpPr>
          <p:nvPr/>
        </p:nvSpPr>
        <p:spPr bwMode="gray">
          <a:xfrm>
            <a:off x="121489" y="1092994"/>
            <a:ext cx="726108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rgbClr val="808080"/>
                </a:solidFill>
                <a:latin typeface="Tahoma"/>
                <a:ea typeface="Tahoma"/>
                <a:cs typeface="Tahoma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>
                <a:sym typeface="Tahoma"/>
              </a:rPr>
              <a:t>GDP breakdown by economic sector 2010 (Nominal), Percen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63349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13" name="Object 1641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90031864"/>
              </p:ext>
            </p:ext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491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3" name="Rectangle 172"/>
          <p:cNvSpPr/>
          <p:nvPr/>
        </p:nvSpPr>
        <p:spPr bwMode="gray">
          <a:xfrm>
            <a:off x="499781" y="1228437"/>
            <a:ext cx="8074996" cy="5188804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3296" tIns="46648" rIns="93296" bIns="46648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32962"/>
            <a:endParaRPr lang="en-GB" sz="1300" b="1"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121488" y="356156"/>
            <a:ext cx="7261088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4763"/>
            <a:r>
              <a:rPr lang="en-US" dirty="0"/>
              <a:t>Access to funding is one of the main </a:t>
            </a:r>
            <a:r>
              <a:rPr lang="en-US" dirty="0" smtClean="0"/>
              <a:t>obstacles</a:t>
            </a:r>
            <a:br>
              <a:rPr lang="en-US" dirty="0" smtClean="0"/>
            </a:br>
            <a:r>
              <a:rPr lang="en-US" dirty="0" smtClean="0"/>
              <a:t>to </a:t>
            </a:r>
            <a:r>
              <a:rPr lang="en-US" dirty="0"/>
              <a:t>doing business in Qatar</a:t>
            </a:r>
          </a:p>
        </p:txBody>
      </p:sp>
      <p:sp>
        <p:nvSpPr>
          <p:cNvPr id="128" name="Legend1"/>
          <p:cNvSpPr>
            <a:spLocks noChangeArrowheads="1"/>
          </p:cNvSpPr>
          <p:nvPr/>
        </p:nvSpPr>
        <p:spPr bwMode="auto">
          <a:xfrm>
            <a:off x="6372028" y="1282698"/>
            <a:ext cx="1274179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/>
          <a:p>
            <a:pPr defTabSz="913429">
              <a:buClr>
                <a:schemeClr val="tx2"/>
              </a:buClr>
            </a:pPr>
            <a:r>
              <a:rPr lang="en-US" sz="1000" dirty="0">
                <a:latin typeface="+mn-lt"/>
              </a:rPr>
              <a:t>Improvement required</a:t>
            </a:r>
          </a:p>
        </p:txBody>
      </p:sp>
      <p:sp>
        <p:nvSpPr>
          <p:cNvPr id="131" name="LegendRectangle2"/>
          <p:cNvSpPr>
            <a:spLocks noChangeArrowheads="1"/>
          </p:cNvSpPr>
          <p:nvPr/>
        </p:nvSpPr>
        <p:spPr bwMode="auto">
          <a:xfrm>
            <a:off x="6147956" y="1282698"/>
            <a:ext cx="157014" cy="157014"/>
          </a:xfrm>
          <a:prstGeom prst="rect">
            <a:avLst/>
          </a:prstGeom>
          <a:gradFill>
            <a:gsLst>
              <a:gs pos="0">
                <a:srgbClr val="B89FC9"/>
              </a:gs>
              <a:gs pos="100000">
                <a:schemeClr val="accent3"/>
              </a:gs>
            </a:gsLst>
            <a:lin ang="5400000" scaled="1"/>
          </a:gradFill>
          <a:ln w="1270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txBody>
          <a:bodyPr lIns="130601" tIns="73113" rIns="46643" bIns="73113" anchor="ctr">
            <a:noAutofit/>
          </a:bodyPr>
          <a:lstStyle/>
          <a:p>
            <a:pPr defTabSz="912717">
              <a:buClr>
                <a:srgbClr val="000000"/>
              </a:buClr>
            </a:pPr>
            <a:endParaRPr lang="en-US" sz="1000" b="1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18" name="Legend2"/>
          <p:cNvSpPr>
            <a:spLocks noChangeArrowheads="1"/>
          </p:cNvSpPr>
          <p:nvPr/>
        </p:nvSpPr>
        <p:spPr bwMode="auto">
          <a:xfrm>
            <a:off x="8052925" y="1282698"/>
            <a:ext cx="325497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429">
              <a:buClr>
                <a:schemeClr val="tx2"/>
              </a:buClr>
            </a:pPr>
            <a:r>
              <a:rPr lang="en-US" sz="1000" dirty="0">
                <a:latin typeface="+mn-lt"/>
              </a:rPr>
              <a:t>Qatar</a:t>
            </a:r>
          </a:p>
        </p:txBody>
      </p:sp>
      <p:cxnSp>
        <p:nvCxnSpPr>
          <p:cNvPr id="52" name="Straight Connector 51"/>
          <p:cNvCxnSpPr/>
          <p:nvPr/>
        </p:nvCxnSpPr>
        <p:spPr>
          <a:xfrm>
            <a:off x="7802903" y="1361205"/>
            <a:ext cx="120397" cy="0"/>
          </a:xfrm>
          <a:prstGeom prst="line">
            <a:avLst/>
          </a:prstGeom>
          <a:noFill/>
          <a:ln w="1905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0" name="McK 5. Source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21488" y="6635459"/>
            <a:ext cx="8099201" cy="153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555625" indent="-555625" defTabSz="913526">
              <a:tabLst>
                <a:tab pos="560388" algn="l"/>
              </a:tabLst>
            </a:pPr>
            <a:r>
              <a:rPr lang="en-US" sz="1000" dirty="0">
                <a:latin typeface="Tahoma"/>
                <a:ea typeface="Tahoma"/>
                <a:cs typeface="Tahoma"/>
              </a:rPr>
              <a:t>SOURCE: Doing Business report 2014; World Bank; Team analysis</a:t>
            </a:r>
          </a:p>
        </p:txBody>
      </p:sp>
      <p:sp>
        <p:nvSpPr>
          <p:cNvPr id="3" name="Rectangle 2"/>
          <p:cNvSpPr/>
          <p:nvPr/>
        </p:nvSpPr>
        <p:spPr>
          <a:xfrm>
            <a:off x="2465486" y="3652274"/>
            <a:ext cx="6040701" cy="42441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3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6411" name="Rectangle 16410"/>
          <p:cNvSpPr>
            <a:spLocks/>
          </p:cNvSpPr>
          <p:nvPr/>
        </p:nvSpPr>
        <p:spPr>
          <a:xfrm>
            <a:off x="568372" y="4487587"/>
            <a:ext cx="1459791" cy="44856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endParaRPr lang="en-US" dirty="0" err="1" smtClean="0">
              <a:solidFill>
                <a:schemeClr val="accent3"/>
              </a:solidFill>
            </a:endParaRPr>
          </a:p>
        </p:txBody>
      </p:sp>
      <p:grpSp>
        <p:nvGrpSpPr>
          <p:cNvPr id="7" name="Group 5"/>
          <p:cNvGrpSpPr>
            <a:grpSpLocks/>
          </p:cNvGrpSpPr>
          <p:nvPr/>
        </p:nvGrpSpPr>
        <p:grpSpPr bwMode="auto">
          <a:xfrm>
            <a:off x="603797" y="1297958"/>
            <a:ext cx="1628433" cy="332373"/>
            <a:chOff x="915" y="805"/>
            <a:chExt cx="1432" cy="225"/>
          </a:xfrm>
        </p:grpSpPr>
        <p:cxnSp>
          <p:nvCxnSpPr>
            <p:cNvPr id="8" name="AutoShape 249"/>
            <p:cNvCxnSpPr>
              <a:cxnSpLocks noChangeShapeType="1"/>
              <a:stCxn id="9" idx="4"/>
              <a:endCxn id="9" idx="6"/>
            </p:cNvCxnSpPr>
            <p:nvPr/>
          </p:nvCxnSpPr>
          <p:spPr bwMode="auto">
            <a:xfrm>
              <a:off x="915" y="1030"/>
              <a:ext cx="1432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" name="AutoShape 250"/>
            <p:cNvSpPr>
              <a:spLocks noChangeArrowheads="1"/>
            </p:cNvSpPr>
            <p:nvPr/>
          </p:nvSpPr>
          <p:spPr bwMode="auto">
            <a:xfrm>
              <a:off x="915" y="805"/>
              <a:ext cx="1432" cy="2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en-US" sz="1000" b="1" dirty="0">
                  <a:solidFill>
                    <a:schemeClr val="accent3"/>
                  </a:solidFill>
                  <a:latin typeface="+mn-lt"/>
                </a:rPr>
                <a:t>Ranking of ease of</a:t>
              </a:r>
            </a:p>
            <a:p>
              <a:r>
                <a:rPr lang="en-US" sz="1000" b="1" dirty="0">
                  <a:solidFill>
                    <a:schemeClr val="accent3"/>
                  </a:solidFill>
                  <a:latin typeface="+mn-lt"/>
                </a:rPr>
                <a:t>doing business</a:t>
              </a:r>
            </a:p>
          </p:txBody>
        </p:sp>
      </p:grpSp>
      <p:grpSp>
        <p:nvGrpSpPr>
          <p:cNvPr id="11" name="Group 5"/>
          <p:cNvGrpSpPr>
            <a:grpSpLocks/>
          </p:cNvGrpSpPr>
          <p:nvPr/>
        </p:nvGrpSpPr>
        <p:grpSpPr bwMode="auto">
          <a:xfrm>
            <a:off x="2465486" y="1480068"/>
            <a:ext cx="1453484" cy="175790"/>
            <a:chOff x="915" y="911"/>
            <a:chExt cx="1432" cy="119"/>
          </a:xfrm>
        </p:grpSpPr>
        <p:cxnSp>
          <p:nvCxnSpPr>
            <p:cNvPr id="12" name="AutoShape 249"/>
            <p:cNvCxnSpPr>
              <a:cxnSpLocks noChangeShapeType="1"/>
              <a:stCxn id="13" idx="4"/>
              <a:endCxn id="13" idx="6"/>
            </p:cNvCxnSpPr>
            <p:nvPr/>
          </p:nvCxnSpPr>
          <p:spPr bwMode="auto">
            <a:xfrm>
              <a:off x="915" y="1030"/>
              <a:ext cx="1432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911"/>
              <a:ext cx="1432" cy="1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en-US" sz="1000" b="1" dirty="0">
                  <a:solidFill>
                    <a:schemeClr val="accent3"/>
                  </a:solidFill>
                  <a:latin typeface="+mn-lt"/>
                </a:rPr>
                <a:t>Measured factors</a:t>
              </a:r>
            </a:p>
          </p:txBody>
        </p:sp>
      </p:grpSp>
      <p:cxnSp>
        <p:nvCxnSpPr>
          <p:cNvPr id="15" name="AutoShape 249"/>
          <p:cNvCxnSpPr>
            <a:cxnSpLocks noChangeShapeType="1"/>
            <a:stCxn id="16" idx="4"/>
            <a:endCxn id="16" idx="6"/>
          </p:cNvCxnSpPr>
          <p:nvPr/>
        </p:nvCxnSpPr>
        <p:spPr bwMode="auto">
          <a:xfrm>
            <a:off x="4013458" y="1655858"/>
            <a:ext cx="4364964" cy="0"/>
          </a:xfrm>
          <a:prstGeom prst="straightConnector1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AutoShape 250"/>
          <p:cNvSpPr>
            <a:spLocks noChangeArrowheads="1"/>
          </p:cNvSpPr>
          <p:nvPr/>
        </p:nvSpPr>
        <p:spPr bwMode="auto">
          <a:xfrm>
            <a:off x="4013458" y="1480068"/>
            <a:ext cx="4364964" cy="17579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000" b="1" dirty="0">
                <a:solidFill>
                  <a:schemeClr val="accent3"/>
                </a:solidFill>
                <a:latin typeface="+mn-lt"/>
              </a:rPr>
              <a:t>Ranking by category of doing business</a:t>
            </a:r>
          </a:p>
        </p:txBody>
      </p:sp>
      <p:sp>
        <p:nvSpPr>
          <p:cNvPr id="17" name="Rectangle 11"/>
          <p:cNvSpPr txBox="1"/>
          <p:nvPr/>
        </p:nvSpPr>
        <p:spPr>
          <a:xfrm>
            <a:off x="4029171" y="1693817"/>
            <a:ext cx="315868" cy="157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000" b="1" dirty="0">
                <a:solidFill>
                  <a:schemeClr val="tx2"/>
                </a:solidFill>
              </a:rPr>
              <a:t>140</a:t>
            </a:r>
          </a:p>
        </p:txBody>
      </p:sp>
      <p:sp>
        <p:nvSpPr>
          <p:cNvPr id="18" name="Rectangle 11"/>
          <p:cNvSpPr txBox="1"/>
          <p:nvPr/>
        </p:nvSpPr>
        <p:spPr>
          <a:xfrm>
            <a:off x="5037517" y="1693817"/>
            <a:ext cx="315868" cy="157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000" b="1" dirty="0">
                <a:solidFill>
                  <a:schemeClr val="tx2"/>
                </a:solidFill>
              </a:rPr>
              <a:t>105</a:t>
            </a:r>
          </a:p>
        </p:txBody>
      </p:sp>
      <p:sp>
        <p:nvSpPr>
          <p:cNvPr id="19" name="Rectangle 11"/>
          <p:cNvSpPr txBox="1"/>
          <p:nvPr/>
        </p:nvSpPr>
        <p:spPr>
          <a:xfrm>
            <a:off x="6045863" y="1693817"/>
            <a:ext cx="315868" cy="157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000" b="1" dirty="0">
                <a:solidFill>
                  <a:schemeClr val="tx2"/>
                </a:solidFill>
              </a:rPr>
              <a:t>70</a:t>
            </a:r>
          </a:p>
        </p:txBody>
      </p:sp>
      <p:sp>
        <p:nvSpPr>
          <p:cNvPr id="20" name="Rectangle 11"/>
          <p:cNvSpPr txBox="1"/>
          <p:nvPr/>
        </p:nvSpPr>
        <p:spPr>
          <a:xfrm>
            <a:off x="7054209" y="1693817"/>
            <a:ext cx="315868" cy="157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000" b="1" dirty="0">
                <a:solidFill>
                  <a:schemeClr val="tx2"/>
                </a:solidFill>
              </a:rPr>
              <a:t>35</a:t>
            </a:r>
          </a:p>
        </p:txBody>
      </p:sp>
      <p:sp>
        <p:nvSpPr>
          <p:cNvPr id="21" name="Rectangle 11"/>
          <p:cNvSpPr txBox="1"/>
          <p:nvPr/>
        </p:nvSpPr>
        <p:spPr>
          <a:xfrm>
            <a:off x="8062552" y="1693817"/>
            <a:ext cx="315868" cy="157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000" b="1" dirty="0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22" name="Rectangle 2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465486" y="1845524"/>
            <a:ext cx="1453484" cy="408665"/>
          </a:xfrm>
          <a:prstGeom prst="rect">
            <a:avLst/>
          </a:prstGeom>
          <a:gradFill>
            <a:gsLst>
              <a:gs pos="0">
                <a:srgbClr val="B89FC9"/>
              </a:gs>
              <a:gs pos="100000">
                <a:schemeClr val="accent3"/>
              </a:gs>
            </a:gsLst>
            <a:lin ang="5400000" scaled="1"/>
          </a:gradFill>
          <a:ln w="1270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64592" tIns="73113" rIns="46643" bIns="73113" anchor="ctr">
            <a:noAutofit/>
          </a:bodyPr>
          <a:lstStyle/>
          <a:p>
            <a:pPr defTabSz="912717">
              <a:buClr>
                <a:srgbClr val="000000"/>
              </a:buClr>
            </a:pPr>
            <a:r>
              <a:rPr lang="en-US" sz="1000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Starting a business</a:t>
            </a:r>
          </a:p>
        </p:txBody>
      </p:sp>
      <p:sp>
        <p:nvSpPr>
          <p:cNvPr id="23" name="Oval 22"/>
          <p:cNvSpPr>
            <a:spLocks/>
          </p:cNvSpPr>
          <p:nvPr/>
        </p:nvSpPr>
        <p:spPr bwMode="gray">
          <a:xfrm>
            <a:off x="2364052" y="1952704"/>
            <a:ext cx="194299" cy="192024"/>
          </a:xfrm>
          <a:prstGeom prst="ellipse">
            <a:avLst/>
          </a:prstGeom>
          <a:gradFill>
            <a:gsLst>
              <a:gs pos="0">
                <a:schemeClr val="accent3">
                  <a:lumMod val="75000"/>
                </a:schemeClr>
              </a:gs>
              <a:gs pos="100000">
                <a:schemeClr val="accent3"/>
              </a:gs>
            </a:gsLst>
            <a:lin ang="5400000" scaled="1"/>
          </a:gradFill>
          <a:ln w="127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algn="ctr" defTabSz="914109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chemeClr val="bg1"/>
                </a:solidFill>
                <a:latin typeface="+mn-lt"/>
              </a:rPr>
              <a:t>1</a:t>
            </a:r>
          </a:p>
        </p:txBody>
      </p:sp>
      <p:sp>
        <p:nvSpPr>
          <p:cNvPr id="26" name="Rectangle 2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465486" y="2298574"/>
            <a:ext cx="1453484" cy="408665"/>
          </a:xfrm>
          <a:prstGeom prst="rect">
            <a:avLst/>
          </a:prstGeom>
          <a:gradFill>
            <a:gsLst>
              <a:gs pos="0">
                <a:schemeClr val="bg2">
                  <a:lumMod val="90000"/>
                </a:schemeClr>
              </a:gs>
              <a:gs pos="39000">
                <a:schemeClr val="accent1">
                  <a:lumMod val="45000"/>
                  <a:lumOff val="55000"/>
                </a:schemeClr>
              </a:gs>
              <a:gs pos="69000">
                <a:schemeClr val="accent1">
                  <a:lumMod val="45000"/>
                  <a:lumOff val="55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5400000" scaled="1"/>
          </a:gradFill>
          <a:ln w="1270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64592" tIns="73113" rIns="46643" bIns="73113" anchor="ctr">
            <a:noAutofit/>
          </a:bodyPr>
          <a:lstStyle>
            <a:lvl1pPr defTabSz="912813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6850" indent="-195263" defTabSz="912813">
              <a:buClr>
                <a:schemeClr val="tx2"/>
              </a:buClr>
              <a:buSzPct val="125000"/>
              <a:buChar char="▪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466725" indent="-268288" defTabSz="912813">
              <a:buClr>
                <a:schemeClr val="tx2"/>
              </a:buClr>
              <a:buSzPct val="12000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27063" indent="-158750" defTabSz="912813">
              <a:buClr>
                <a:schemeClr val="tx2"/>
              </a:buClr>
              <a:buSzPct val="120000"/>
              <a:buChar char="▫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762000" indent="-133350" defTabSz="912813">
              <a:buClr>
                <a:schemeClr val="tx2"/>
              </a:buClr>
              <a:buSzPct val="8900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219200" indent="-133350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676400" indent="-133350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133600" indent="-133350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590800" indent="-133350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000" b="1" dirty="0">
                <a:solidFill>
                  <a:schemeClr val="accent3"/>
                </a:solidFill>
                <a:latin typeface="+mn-lt"/>
              </a:rPr>
              <a:t>Dealing with cons-</a:t>
            </a:r>
            <a:r>
              <a:rPr lang="en-US" sz="1000" b="1" dirty="0" err="1">
                <a:solidFill>
                  <a:schemeClr val="accent3"/>
                </a:solidFill>
                <a:latin typeface="+mn-lt"/>
              </a:rPr>
              <a:t>truction</a:t>
            </a:r>
            <a:r>
              <a:rPr lang="en-US" sz="1000" b="1" dirty="0">
                <a:solidFill>
                  <a:schemeClr val="accent3"/>
                </a:solidFill>
                <a:latin typeface="+mn-lt"/>
              </a:rPr>
              <a:t> permits</a:t>
            </a:r>
          </a:p>
        </p:txBody>
      </p:sp>
      <p:sp>
        <p:nvSpPr>
          <p:cNvPr id="27" name="Oval 26"/>
          <p:cNvSpPr>
            <a:spLocks/>
          </p:cNvSpPr>
          <p:nvPr/>
        </p:nvSpPr>
        <p:spPr bwMode="gray">
          <a:xfrm>
            <a:off x="2364052" y="2405756"/>
            <a:ext cx="194299" cy="192024"/>
          </a:xfrm>
          <a:prstGeom prst="ellipse">
            <a:avLst/>
          </a:prstGeom>
          <a:gradFill>
            <a:gsLst>
              <a:gs pos="0">
                <a:schemeClr val="accent3">
                  <a:lumMod val="75000"/>
                </a:schemeClr>
              </a:gs>
              <a:gs pos="100000">
                <a:schemeClr val="accent3"/>
              </a:gs>
            </a:gsLst>
            <a:lin ang="5400000" scaled="1"/>
          </a:gradFill>
          <a:ln w="127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algn="ctr" defTabSz="914109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chemeClr val="bg1"/>
                </a:solidFill>
                <a:latin typeface="+mn-lt"/>
              </a:rPr>
              <a:t>2</a:t>
            </a:r>
          </a:p>
        </p:txBody>
      </p:sp>
      <p:sp>
        <p:nvSpPr>
          <p:cNvPr id="29" name="Rectangle 24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465486" y="2751626"/>
            <a:ext cx="1453484" cy="408665"/>
          </a:xfrm>
          <a:prstGeom prst="rect">
            <a:avLst/>
          </a:prstGeom>
          <a:gradFill>
            <a:gsLst>
              <a:gs pos="0">
                <a:schemeClr val="bg2">
                  <a:lumMod val="90000"/>
                </a:schemeClr>
              </a:gs>
              <a:gs pos="39000">
                <a:schemeClr val="accent1">
                  <a:lumMod val="45000"/>
                  <a:lumOff val="55000"/>
                </a:schemeClr>
              </a:gs>
              <a:gs pos="69000">
                <a:schemeClr val="accent1">
                  <a:lumMod val="45000"/>
                  <a:lumOff val="55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5400000" scaled="1"/>
          </a:gradFill>
          <a:ln w="1270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64592" tIns="73113" rIns="46643" bIns="73113" anchor="ctr">
            <a:noAutofit/>
          </a:bodyPr>
          <a:lstStyle>
            <a:lvl1pPr defTabSz="912813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6850" indent="-195263" defTabSz="912813">
              <a:buClr>
                <a:schemeClr val="tx2"/>
              </a:buClr>
              <a:buSzPct val="125000"/>
              <a:buChar char="▪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466725" indent="-268288" defTabSz="912813">
              <a:buClr>
                <a:schemeClr val="tx2"/>
              </a:buClr>
              <a:buSzPct val="12000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27063" indent="-158750" defTabSz="912813">
              <a:buClr>
                <a:schemeClr val="tx2"/>
              </a:buClr>
              <a:buSzPct val="120000"/>
              <a:buChar char="▫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762000" indent="-133350" defTabSz="912813">
              <a:buClr>
                <a:schemeClr val="tx2"/>
              </a:buClr>
              <a:buSzPct val="8900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219200" indent="-133350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676400" indent="-133350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133600" indent="-133350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590800" indent="-133350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000" b="1" dirty="0">
                <a:solidFill>
                  <a:schemeClr val="accent3"/>
                </a:solidFill>
                <a:latin typeface="+mn-lt"/>
              </a:rPr>
              <a:t>Getting Electricity</a:t>
            </a:r>
          </a:p>
        </p:txBody>
      </p:sp>
      <p:sp>
        <p:nvSpPr>
          <p:cNvPr id="30" name="Oval 29"/>
          <p:cNvSpPr>
            <a:spLocks/>
          </p:cNvSpPr>
          <p:nvPr/>
        </p:nvSpPr>
        <p:spPr bwMode="gray">
          <a:xfrm>
            <a:off x="2364052" y="2858806"/>
            <a:ext cx="194299" cy="192024"/>
          </a:xfrm>
          <a:prstGeom prst="ellipse">
            <a:avLst/>
          </a:prstGeom>
          <a:gradFill>
            <a:gsLst>
              <a:gs pos="0">
                <a:schemeClr val="accent3">
                  <a:lumMod val="75000"/>
                </a:schemeClr>
              </a:gs>
              <a:gs pos="100000">
                <a:schemeClr val="accent3"/>
              </a:gs>
            </a:gsLst>
            <a:lin ang="5400000" scaled="1"/>
          </a:gradFill>
          <a:ln w="127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algn="ctr" defTabSz="914109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chemeClr val="bg1"/>
                </a:solidFill>
                <a:latin typeface="+mn-lt"/>
              </a:rPr>
              <a:t>3</a:t>
            </a:r>
          </a:p>
        </p:txBody>
      </p:sp>
      <p:sp>
        <p:nvSpPr>
          <p:cNvPr id="32" name="Rectangle 24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465486" y="3204677"/>
            <a:ext cx="1453484" cy="408665"/>
          </a:xfrm>
          <a:prstGeom prst="rect">
            <a:avLst/>
          </a:prstGeom>
          <a:gradFill>
            <a:gsLst>
              <a:gs pos="0">
                <a:schemeClr val="bg2">
                  <a:lumMod val="90000"/>
                </a:schemeClr>
              </a:gs>
              <a:gs pos="39000">
                <a:schemeClr val="accent1">
                  <a:lumMod val="45000"/>
                  <a:lumOff val="55000"/>
                </a:schemeClr>
              </a:gs>
              <a:gs pos="69000">
                <a:schemeClr val="accent1">
                  <a:lumMod val="45000"/>
                  <a:lumOff val="55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5400000" scaled="1"/>
          </a:gradFill>
          <a:ln w="1270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64592" tIns="73113" rIns="46643" bIns="73113" anchor="ctr">
            <a:noAutofit/>
          </a:bodyPr>
          <a:lstStyle>
            <a:lvl1pPr defTabSz="912813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6850" indent="-195263" defTabSz="912813">
              <a:buClr>
                <a:schemeClr val="tx2"/>
              </a:buClr>
              <a:buSzPct val="125000"/>
              <a:buChar char="▪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466725" indent="-268288" defTabSz="912813">
              <a:buClr>
                <a:schemeClr val="tx2"/>
              </a:buClr>
              <a:buSzPct val="12000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27063" indent="-158750" defTabSz="912813">
              <a:buClr>
                <a:schemeClr val="tx2"/>
              </a:buClr>
              <a:buSzPct val="120000"/>
              <a:buChar char="▫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762000" indent="-133350" defTabSz="912813">
              <a:buClr>
                <a:schemeClr val="tx2"/>
              </a:buClr>
              <a:buSzPct val="8900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219200" indent="-133350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676400" indent="-133350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133600" indent="-133350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590800" indent="-133350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000" b="1" dirty="0">
                <a:solidFill>
                  <a:schemeClr val="accent3"/>
                </a:solidFill>
                <a:latin typeface="+mn-lt"/>
              </a:rPr>
              <a:t>Registering Property</a:t>
            </a:r>
          </a:p>
        </p:txBody>
      </p:sp>
      <p:sp>
        <p:nvSpPr>
          <p:cNvPr id="33" name="Oval 32"/>
          <p:cNvSpPr>
            <a:spLocks/>
          </p:cNvSpPr>
          <p:nvPr/>
        </p:nvSpPr>
        <p:spPr bwMode="gray">
          <a:xfrm>
            <a:off x="2364052" y="3311857"/>
            <a:ext cx="194299" cy="192024"/>
          </a:xfrm>
          <a:prstGeom prst="ellipse">
            <a:avLst/>
          </a:prstGeom>
          <a:gradFill>
            <a:gsLst>
              <a:gs pos="0">
                <a:schemeClr val="accent3">
                  <a:lumMod val="75000"/>
                </a:schemeClr>
              </a:gs>
              <a:gs pos="100000">
                <a:schemeClr val="accent3"/>
              </a:gs>
            </a:gsLst>
            <a:lin ang="5400000" scaled="1"/>
          </a:gradFill>
          <a:ln w="127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algn="ctr" defTabSz="914109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chemeClr val="bg1"/>
                </a:solidFill>
                <a:latin typeface="+mn-lt"/>
              </a:rPr>
              <a:t>4</a:t>
            </a:r>
          </a:p>
        </p:txBody>
      </p:sp>
      <p:sp>
        <p:nvSpPr>
          <p:cNvPr id="35" name="Rectangle 24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465486" y="3657728"/>
            <a:ext cx="1453484" cy="408665"/>
          </a:xfrm>
          <a:prstGeom prst="rect">
            <a:avLst/>
          </a:prstGeom>
          <a:gradFill>
            <a:gsLst>
              <a:gs pos="0">
                <a:srgbClr val="B89FC9"/>
              </a:gs>
              <a:gs pos="100000">
                <a:schemeClr val="accent3"/>
              </a:gs>
            </a:gsLst>
            <a:lin ang="5400000" scaled="1"/>
          </a:gradFill>
          <a:ln w="1270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64592" tIns="73113" rIns="46643" bIns="73113" anchor="ctr">
            <a:noAutofit/>
          </a:bodyPr>
          <a:lstStyle/>
          <a:p>
            <a:pPr defTabSz="912717">
              <a:buClr>
                <a:srgbClr val="000000"/>
              </a:buClr>
            </a:pPr>
            <a:r>
              <a:rPr lang="en-US" sz="1000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Getting credit</a:t>
            </a:r>
          </a:p>
        </p:txBody>
      </p:sp>
      <p:sp>
        <p:nvSpPr>
          <p:cNvPr id="36" name="Oval 35"/>
          <p:cNvSpPr>
            <a:spLocks/>
          </p:cNvSpPr>
          <p:nvPr/>
        </p:nvSpPr>
        <p:spPr bwMode="gray">
          <a:xfrm>
            <a:off x="2364052" y="3764909"/>
            <a:ext cx="194299" cy="192024"/>
          </a:xfrm>
          <a:prstGeom prst="ellipse">
            <a:avLst/>
          </a:prstGeom>
          <a:gradFill>
            <a:gsLst>
              <a:gs pos="0">
                <a:schemeClr val="accent3">
                  <a:lumMod val="75000"/>
                </a:schemeClr>
              </a:gs>
              <a:gs pos="100000">
                <a:schemeClr val="accent3"/>
              </a:gs>
            </a:gsLst>
            <a:lin ang="5400000" scaled="1"/>
          </a:gradFill>
          <a:ln w="127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algn="ctr" defTabSz="914109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chemeClr val="bg1"/>
                </a:solidFill>
                <a:latin typeface="+mn-lt"/>
              </a:rPr>
              <a:t>5</a:t>
            </a:r>
          </a:p>
        </p:txBody>
      </p:sp>
      <p:sp>
        <p:nvSpPr>
          <p:cNvPr id="38" name="Rectangle 24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465486" y="4110778"/>
            <a:ext cx="1453484" cy="408665"/>
          </a:xfrm>
          <a:prstGeom prst="rect">
            <a:avLst/>
          </a:prstGeom>
          <a:gradFill>
            <a:gsLst>
              <a:gs pos="0">
                <a:srgbClr val="B89FC9"/>
              </a:gs>
              <a:gs pos="100000">
                <a:schemeClr val="accent3"/>
              </a:gs>
            </a:gsLst>
            <a:lin ang="5400000" scaled="1"/>
          </a:gradFill>
          <a:ln w="1270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64592" tIns="73113" rIns="46643" bIns="73113" anchor="ctr">
            <a:noAutofit/>
          </a:bodyPr>
          <a:lstStyle/>
          <a:p>
            <a:pPr defTabSz="912717">
              <a:buClr>
                <a:srgbClr val="000000"/>
              </a:buClr>
            </a:pPr>
            <a:r>
              <a:rPr lang="en-US" sz="1000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Protecting investors</a:t>
            </a:r>
          </a:p>
        </p:txBody>
      </p:sp>
      <p:sp>
        <p:nvSpPr>
          <p:cNvPr id="39" name="Oval 38"/>
          <p:cNvSpPr>
            <a:spLocks/>
          </p:cNvSpPr>
          <p:nvPr/>
        </p:nvSpPr>
        <p:spPr bwMode="gray">
          <a:xfrm>
            <a:off x="2364052" y="4217960"/>
            <a:ext cx="194299" cy="192024"/>
          </a:xfrm>
          <a:prstGeom prst="ellipse">
            <a:avLst/>
          </a:prstGeom>
          <a:gradFill>
            <a:gsLst>
              <a:gs pos="0">
                <a:schemeClr val="accent3">
                  <a:lumMod val="75000"/>
                </a:schemeClr>
              </a:gs>
              <a:gs pos="100000">
                <a:schemeClr val="accent3"/>
              </a:gs>
            </a:gsLst>
            <a:lin ang="5400000" scaled="1"/>
          </a:gradFill>
          <a:ln w="127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algn="ctr" defTabSz="914109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chemeClr val="bg1"/>
                </a:solidFill>
                <a:latin typeface="+mn-lt"/>
              </a:rPr>
              <a:t>6</a:t>
            </a:r>
          </a:p>
        </p:txBody>
      </p:sp>
      <p:sp>
        <p:nvSpPr>
          <p:cNvPr id="41" name="Rectangle 24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465486" y="4563830"/>
            <a:ext cx="1453484" cy="408665"/>
          </a:xfrm>
          <a:prstGeom prst="rect">
            <a:avLst/>
          </a:prstGeom>
          <a:gradFill>
            <a:gsLst>
              <a:gs pos="0">
                <a:schemeClr val="bg2">
                  <a:lumMod val="90000"/>
                </a:schemeClr>
              </a:gs>
              <a:gs pos="39000">
                <a:schemeClr val="accent1">
                  <a:lumMod val="45000"/>
                  <a:lumOff val="55000"/>
                </a:schemeClr>
              </a:gs>
              <a:gs pos="69000">
                <a:schemeClr val="accent1">
                  <a:lumMod val="45000"/>
                  <a:lumOff val="55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5400000" scaled="1"/>
          </a:gradFill>
          <a:ln w="1270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64592" tIns="73113" rIns="46643" bIns="73113" anchor="ctr">
            <a:noAutofit/>
          </a:bodyPr>
          <a:lstStyle>
            <a:lvl1pPr defTabSz="912813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6850" indent="-195263" defTabSz="912813">
              <a:buClr>
                <a:schemeClr val="tx2"/>
              </a:buClr>
              <a:buSzPct val="125000"/>
              <a:buChar char="▪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466725" indent="-268288" defTabSz="912813">
              <a:buClr>
                <a:schemeClr val="tx2"/>
              </a:buClr>
              <a:buSzPct val="12000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27063" indent="-158750" defTabSz="912813">
              <a:buClr>
                <a:schemeClr val="tx2"/>
              </a:buClr>
              <a:buSzPct val="120000"/>
              <a:buChar char="▫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762000" indent="-133350" defTabSz="912813">
              <a:buClr>
                <a:schemeClr val="tx2"/>
              </a:buClr>
              <a:buSzPct val="8900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219200" indent="-133350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676400" indent="-133350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133600" indent="-133350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590800" indent="-133350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000" b="1" dirty="0">
                <a:solidFill>
                  <a:schemeClr val="accent3"/>
                </a:solidFill>
                <a:latin typeface="+mn-lt"/>
              </a:rPr>
              <a:t>Paying Taxes</a:t>
            </a:r>
          </a:p>
        </p:txBody>
      </p:sp>
      <p:sp>
        <p:nvSpPr>
          <p:cNvPr id="42" name="Oval 41"/>
          <p:cNvSpPr>
            <a:spLocks/>
          </p:cNvSpPr>
          <p:nvPr/>
        </p:nvSpPr>
        <p:spPr bwMode="gray">
          <a:xfrm>
            <a:off x="2364052" y="4671010"/>
            <a:ext cx="194299" cy="192024"/>
          </a:xfrm>
          <a:prstGeom prst="ellipse">
            <a:avLst/>
          </a:prstGeom>
          <a:gradFill>
            <a:gsLst>
              <a:gs pos="0">
                <a:schemeClr val="accent3">
                  <a:lumMod val="75000"/>
                </a:schemeClr>
              </a:gs>
              <a:gs pos="100000">
                <a:schemeClr val="accent3"/>
              </a:gs>
            </a:gsLst>
            <a:lin ang="5400000" scaled="1"/>
          </a:gradFill>
          <a:ln w="127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algn="ctr" defTabSz="914109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chemeClr val="bg1"/>
                </a:solidFill>
                <a:latin typeface="+mn-lt"/>
              </a:rPr>
              <a:t>7</a:t>
            </a:r>
          </a:p>
        </p:txBody>
      </p:sp>
      <p:sp>
        <p:nvSpPr>
          <p:cNvPr id="44" name="Rectangle 24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465486" y="5469931"/>
            <a:ext cx="1453484" cy="408665"/>
          </a:xfrm>
          <a:prstGeom prst="rect">
            <a:avLst/>
          </a:prstGeom>
          <a:gradFill>
            <a:gsLst>
              <a:gs pos="0">
                <a:srgbClr val="B89FC9"/>
              </a:gs>
              <a:gs pos="100000">
                <a:schemeClr val="accent3"/>
              </a:gs>
            </a:gsLst>
            <a:lin ang="5400000" scaled="1"/>
          </a:gradFill>
          <a:ln w="1270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64592" tIns="73113" rIns="46643" bIns="73113" anchor="ctr">
            <a:noAutofit/>
          </a:bodyPr>
          <a:lstStyle/>
          <a:p>
            <a:pPr defTabSz="912717">
              <a:buClr>
                <a:srgbClr val="000000"/>
              </a:buClr>
            </a:pPr>
            <a:r>
              <a:rPr lang="en-US" sz="1000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Enforcing contracts</a:t>
            </a:r>
          </a:p>
        </p:txBody>
      </p:sp>
      <p:sp>
        <p:nvSpPr>
          <p:cNvPr id="45" name="Oval 44"/>
          <p:cNvSpPr>
            <a:spLocks/>
          </p:cNvSpPr>
          <p:nvPr/>
        </p:nvSpPr>
        <p:spPr bwMode="gray">
          <a:xfrm>
            <a:off x="2364052" y="5577114"/>
            <a:ext cx="194299" cy="192024"/>
          </a:xfrm>
          <a:prstGeom prst="ellipse">
            <a:avLst/>
          </a:prstGeom>
          <a:gradFill>
            <a:gsLst>
              <a:gs pos="0">
                <a:schemeClr val="accent3">
                  <a:lumMod val="75000"/>
                </a:schemeClr>
              </a:gs>
              <a:gs pos="100000">
                <a:schemeClr val="accent3"/>
              </a:gs>
            </a:gsLst>
            <a:lin ang="5400000" scaled="1"/>
          </a:gradFill>
          <a:ln w="127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algn="ctr" defTabSz="914109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chemeClr val="bg1"/>
                </a:solidFill>
                <a:latin typeface="+mn-lt"/>
              </a:rPr>
              <a:t>9</a:t>
            </a:r>
          </a:p>
        </p:txBody>
      </p:sp>
      <p:sp>
        <p:nvSpPr>
          <p:cNvPr id="47" name="Rectangle 24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465486" y="5016880"/>
            <a:ext cx="1453484" cy="408665"/>
          </a:xfrm>
          <a:prstGeom prst="rect">
            <a:avLst/>
          </a:prstGeom>
          <a:gradFill>
            <a:gsLst>
              <a:gs pos="0">
                <a:schemeClr val="bg2">
                  <a:lumMod val="90000"/>
                </a:schemeClr>
              </a:gs>
              <a:gs pos="39000">
                <a:schemeClr val="accent1">
                  <a:lumMod val="45000"/>
                  <a:lumOff val="55000"/>
                </a:schemeClr>
              </a:gs>
              <a:gs pos="69000">
                <a:schemeClr val="accent1">
                  <a:lumMod val="45000"/>
                  <a:lumOff val="55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5400000" scaled="1"/>
          </a:gradFill>
          <a:ln w="1270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64592" tIns="73113" rIns="46643" bIns="73113" anchor="ctr">
            <a:noAutofit/>
          </a:bodyPr>
          <a:lstStyle>
            <a:lvl1pPr defTabSz="912813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6850" indent="-195263" defTabSz="912813">
              <a:buClr>
                <a:schemeClr val="tx2"/>
              </a:buClr>
              <a:buSzPct val="125000"/>
              <a:buChar char="▪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466725" indent="-268288" defTabSz="912813">
              <a:buClr>
                <a:schemeClr val="tx2"/>
              </a:buClr>
              <a:buSzPct val="12000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27063" indent="-158750" defTabSz="912813">
              <a:buClr>
                <a:schemeClr val="tx2"/>
              </a:buClr>
              <a:buSzPct val="120000"/>
              <a:buChar char="▫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762000" indent="-133350" defTabSz="912813">
              <a:buClr>
                <a:schemeClr val="tx2"/>
              </a:buClr>
              <a:buSzPct val="8900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219200" indent="-133350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676400" indent="-133350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133600" indent="-133350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590800" indent="-133350" defTabSz="91281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000" b="1" dirty="0">
                <a:solidFill>
                  <a:schemeClr val="accent3"/>
                </a:solidFill>
                <a:latin typeface="+mn-lt"/>
              </a:rPr>
              <a:t>Trading across</a:t>
            </a:r>
          </a:p>
          <a:p>
            <a:pPr>
              <a:buClr>
                <a:srgbClr val="000000"/>
              </a:buClr>
            </a:pPr>
            <a:r>
              <a:rPr lang="en-US" sz="1000" b="1" dirty="0">
                <a:solidFill>
                  <a:schemeClr val="accent3"/>
                </a:solidFill>
                <a:latin typeface="+mn-lt"/>
              </a:rPr>
              <a:t>Borders</a:t>
            </a:r>
          </a:p>
        </p:txBody>
      </p:sp>
      <p:sp>
        <p:nvSpPr>
          <p:cNvPr id="48" name="Oval 47"/>
          <p:cNvSpPr>
            <a:spLocks/>
          </p:cNvSpPr>
          <p:nvPr/>
        </p:nvSpPr>
        <p:spPr bwMode="gray">
          <a:xfrm>
            <a:off x="2364052" y="5124063"/>
            <a:ext cx="194299" cy="192024"/>
          </a:xfrm>
          <a:prstGeom prst="ellipse">
            <a:avLst/>
          </a:prstGeom>
          <a:gradFill>
            <a:gsLst>
              <a:gs pos="0">
                <a:schemeClr val="accent3">
                  <a:lumMod val="75000"/>
                </a:schemeClr>
              </a:gs>
              <a:gs pos="100000">
                <a:schemeClr val="accent3"/>
              </a:gs>
            </a:gsLst>
            <a:lin ang="5400000" scaled="1"/>
          </a:gradFill>
          <a:ln w="127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algn="ctr" defTabSz="914109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schemeClr val="bg1"/>
                </a:solidFill>
                <a:latin typeface="+mn-lt"/>
              </a:rPr>
              <a:t>8</a:t>
            </a:r>
          </a:p>
        </p:txBody>
      </p:sp>
      <p:sp>
        <p:nvSpPr>
          <p:cNvPr id="50" name="Rectangle 24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465486" y="5922979"/>
            <a:ext cx="1453484" cy="408665"/>
          </a:xfrm>
          <a:prstGeom prst="rect">
            <a:avLst/>
          </a:prstGeom>
          <a:gradFill>
            <a:gsLst>
              <a:gs pos="0">
                <a:schemeClr val="bg2">
                  <a:lumMod val="90000"/>
                </a:schemeClr>
              </a:gs>
              <a:gs pos="39000">
                <a:schemeClr val="accent1">
                  <a:lumMod val="45000"/>
                  <a:lumOff val="55000"/>
                </a:schemeClr>
              </a:gs>
              <a:gs pos="69000">
                <a:schemeClr val="accent1">
                  <a:lumMod val="45000"/>
                  <a:lumOff val="55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5400000" scaled="1"/>
          </a:gradFill>
          <a:ln w="1270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64592" tIns="73113" rIns="46643" bIns="73113" anchor="ctr">
            <a:noAutofit/>
          </a:bodyPr>
          <a:lstStyle/>
          <a:p>
            <a:pPr defTabSz="912717">
              <a:buClr>
                <a:srgbClr val="000000"/>
              </a:buClr>
            </a:pPr>
            <a:r>
              <a:rPr lang="en-US" sz="1000" b="1" dirty="0">
                <a:solidFill>
                  <a:schemeClr val="accent3"/>
                </a:solidFill>
                <a:latin typeface="+mn-lt"/>
                <a:cs typeface="Arial" pitchFamily="34" charset="0"/>
              </a:rPr>
              <a:t>Resolving insolvency</a:t>
            </a:r>
          </a:p>
        </p:txBody>
      </p:sp>
      <p:sp>
        <p:nvSpPr>
          <p:cNvPr id="51" name="Oval 50"/>
          <p:cNvSpPr>
            <a:spLocks/>
          </p:cNvSpPr>
          <p:nvPr/>
        </p:nvSpPr>
        <p:spPr bwMode="gray">
          <a:xfrm>
            <a:off x="2364052" y="6030161"/>
            <a:ext cx="194299" cy="192024"/>
          </a:xfrm>
          <a:prstGeom prst="ellipse">
            <a:avLst/>
          </a:prstGeom>
          <a:gradFill>
            <a:gsLst>
              <a:gs pos="0">
                <a:schemeClr val="accent3">
                  <a:lumMod val="75000"/>
                </a:schemeClr>
              </a:gs>
              <a:gs pos="100000">
                <a:schemeClr val="accent3"/>
              </a:gs>
            </a:gsLst>
            <a:lin ang="5400000" scaled="1"/>
          </a:gradFill>
          <a:ln w="127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rtlCol="0" anchor="ctr">
            <a:noAutofit/>
          </a:bodyPr>
          <a:lstStyle/>
          <a:p>
            <a:pPr algn="ctr" defTabSz="914109" fontAlgn="auto">
              <a:spcBef>
                <a:spcPts val="0"/>
              </a:spcBef>
              <a:spcAft>
                <a:spcPts val="0"/>
              </a:spcAft>
            </a:pPr>
            <a:r>
              <a:rPr lang="en-US" sz="900" b="1" dirty="0">
                <a:solidFill>
                  <a:schemeClr val="bg1"/>
                </a:solidFill>
                <a:latin typeface="+mn-lt"/>
              </a:rPr>
              <a:t>10</a:t>
            </a:r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>
            <a:off x="4013458" y="2502906"/>
            <a:ext cx="4364964" cy="0"/>
          </a:xfrm>
          <a:prstGeom prst="line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>
            <a:cxnSpLocks/>
          </p:cNvCxnSpPr>
          <p:nvPr/>
        </p:nvCxnSpPr>
        <p:spPr>
          <a:xfrm>
            <a:off x="4013458" y="2955956"/>
            <a:ext cx="4364964" cy="0"/>
          </a:xfrm>
          <a:prstGeom prst="line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>
            <a:cxnSpLocks/>
          </p:cNvCxnSpPr>
          <p:nvPr/>
        </p:nvCxnSpPr>
        <p:spPr>
          <a:xfrm>
            <a:off x="4013458" y="3862059"/>
            <a:ext cx="4364964" cy="0"/>
          </a:xfrm>
          <a:prstGeom prst="line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>
            <a:cxnSpLocks/>
          </p:cNvCxnSpPr>
          <p:nvPr/>
        </p:nvCxnSpPr>
        <p:spPr>
          <a:xfrm>
            <a:off x="4013458" y="4315110"/>
            <a:ext cx="4364964" cy="0"/>
          </a:xfrm>
          <a:prstGeom prst="line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>
            <a:cxnSpLocks/>
          </p:cNvCxnSpPr>
          <p:nvPr/>
        </p:nvCxnSpPr>
        <p:spPr>
          <a:xfrm>
            <a:off x="4013458" y="4768160"/>
            <a:ext cx="4364964" cy="0"/>
          </a:xfrm>
          <a:prstGeom prst="line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>
            <a:cxnSpLocks/>
          </p:cNvCxnSpPr>
          <p:nvPr/>
        </p:nvCxnSpPr>
        <p:spPr>
          <a:xfrm>
            <a:off x="4013458" y="5221212"/>
            <a:ext cx="4364964" cy="0"/>
          </a:xfrm>
          <a:prstGeom prst="line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>
            <a:cxnSpLocks/>
          </p:cNvCxnSpPr>
          <p:nvPr/>
        </p:nvCxnSpPr>
        <p:spPr>
          <a:xfrm>
            <a:off x="4013458" y="5674263"/>
            <a:ext cx="4364964" cy="0"/>
          </a:xfrm>
          <a:prstGeom prst="line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>
            <a:cxnSpLocks/>
          </p:cNvCxnSpPr>
          <p:nvPr/>
        </p:nvCxnSpPr>
        <p:spPr>
          <a:xfrm>
            <a:off x="4013458" y="6127310"/>
            <a:ext cx="4364964" cy="0"/>
          </a:xfrm>
          <a:prstGeom prst="line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>
            <a:cxnSpLocks/>
          </p:cNvCxnSpPr>
          <p:nvPr/>
        </p:nvCxnSpPr>
        <p:spPr>
          <a:xfrm>
            <a:off x="4013458" y="2049854"/>
            <a:ext cx="4364964" cy="0"/>
          </a:xfrm>
          <a:prstGeom prst="line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cxnSpLocks/>
          </p:cNvCxnSpPr>
          <p:nvPr/>
        </p:nvCxnSpPr>
        <p:spPr>
          <a:xfrm>
            <a:off x="4013458" y="3409007"/>
            <a:ext cx="4364964" cy="0"/>
          </a:xfrm>
          <a:prstGeom prst="line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>
            <a:cxnSpLocks/>
          </p:cNvCxnSpPr>
          <p:nvPr/>
        </p:nvCxnSpPr>
        <p:spPr>
          <a:xfrm flipV="1">
            <a:off x="2120574" y="1851935"/>
            <a:ext cx="0" cy="4255565"/>
          </a:xfrm>
          <a:prstGeom prst="line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Group 74"/>
          <p:cNvGrpSpPr>
            <a:grpSpLocks/>
          </p:cNvGrpSpPr>
          <p:nvPr/>
        </p:nvGrpSpPr>
        <p:grpSpPr>
          <a:xfrm>
            <a:off x="2027271" y="6124918"/>
            <a:ext cx="186606" cy="182880"/>
            <a:chOff x="5047016" y="4288473"/>
            <a:chExt cx="274320" cy="274320"/>
          </a:xfrm>
        </p:grpSpPr>
        <p:sp>
          <p:nvSpPr>
            <p:cNvPr id="76" name="Oval 75"/>
            <p:cNvSpPr>
              <a:spLocks noChangeAspect="1"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5047016" y="4288473"/>
              <a:ext cx="274320" cy="274320"/>
            </a:xfrm>
            <a:prstGeom prst="ellipse">
              <a:avLst/>
            </a:prstGeom>
            <a:gradFill>
              <a:gsLst>
                <a:gs pos="0">
                  <a:schemeClr val="accent3">
                    <a:lumMod val="75000"/>
                  </a:schemeClr>
                </a:gs>
                <a:gs pos="100000">
                  <a:schemeClr val="accent3"/>
                </a:gs>
              </a:gsLst>
              <a:lin ang="5400000" scaled="1"/>
            </a:gra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 defTabSz="914109" fontAlgn="auto">
                <a:spcBef>
                  <a:spcPts val="0"/>
                </a:spcBef>
                <a:spcAft>
                  <a:spcPts val="0"/>
                </a:spcAft>
              </a:pPr>
              <a:endParaRPr lang="en-US" sz="10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7" name="Rectangle 66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5088164" y="4408688"/>
              <a:ext cx="192024" cy="338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00">
                <a:latin typeface="+mn-lt"/>
              </a:endParaRPr>
            </a:p>
          </p:txBody>
        </p:sp>
      </p:grpSp>
      <p:grpSp>
        <p:nvGrpSpPr>
          <p:cNvPr id="78" name="Group 77"/>
          <p:cNvGrpSpPr>
            <a:grpSpLocks/>
          </p:cNvGrpSpPr>
          <p:nvPr/>
        </p:nvGrpSpPr>
        <p:grpSpPr>
          <a:xfrm>
            <a:off x="2027271" y="1664342"/>
            <a:ext cx="186606" cy="182880"/>
            <a:chOff x="4501959" y="4288473"/>
            <a:chExt cx="274320" cy="274320"/>
          </a:xfrm>
        </p:grpSpPr>
        <p:sp>
          <p:nvSpPr>
            <p:cNvPr id="79" name="Oval 75"/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4501959" y="4288473"/>
              <a:ext cx="274320" cy="274320"/>
            </a:xfrm>
            <a:prstGeom prst="ellipse">
              <a:avLst/>
            </a:prstGeom>
            <a:gradFill>
              <a:gsLst>
                <a:gs pos="0">
                  <a:schemeClr val="accent3">
                    <a:lumMod val="75000"/>
                  </a:schemeClr>
                </a:gs>
                <a:gs pos="100000">
                  <a:schemeClr val="accent3"/>
                </a:gs>
              </a:gsLst>
              <a:lin ang="5400000" scaled="1"/>
            </a:gra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0" tIns="0" rIns="0" bIns="0" rtlCol="0" anchor="ctr">
              <a:noAutofit/>
            </a:bodyPr>
            <a:lstStyle/>
            <a:p>
              <a:pPr algn="ctr" defTabSz="914109" fontAlgn="auto">
                <a:spcBef>
                  <a:spcPts val="0"/>
                </a:spcBef>
                <a:spcAft>
                  <a:spcPts val="0"/>
                </a:spcAft>
              </a:pPr>
              <a:endParaRPr lang="en-US" sz="10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0" name="Freeform 56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4543235" y="4329749"/>
              <a:ext cx="191768" cy="191768"/>
            </a:xfrm>
            <a:custGeom>
              <a:avLst/>
              <a:gdLst>
                <a:gd name="T0" fmla="*/ 83 w 204"/>
                <a:gd name="T1" fmla="*/ 0 h 204"/>
                <a:gd name="T2" fmla="*/ 119 w 204"/>
                <a:gd name="T3" fmla="*/ 0 h 204"/>
                <a:gd name="T4" fmla="*/ 119 w 204"/>
                <a:gd name="T5" fmla="*/ 83 h 204"/>
                <a:gd name="T6" fmla="*/ 204 w 204"/>
                <a:gd name="T7" fmla="*/ 83 h 204"/>
                <a:gd name="T8" fmla="*/ 204 w 204"/>
                <a:gd name="T9" fmla="*/ 119 h 204"/>
                <a:gd name="T10" fmla="*/ 119 w 204"/>
                <a:gd name="T11" fmla="*/ 119 h 204"/>
                <a:gd name="T12" fmla="*/ 119 w 204"/>
                <a:gd name="T13" fmla="*/ 204 h 204"/>
                <a:gd name="T14" fmla="*/ 83 w 204"/>
                <a:gd name="T15" fmla="*/ 204 h 204"/>
                <a:gd name="T16" fmla="*/ 83 w 204"/>
                <a:gd name="T17" fmla="*/ 119 h 204"/>
                <a:gd name="T18" fmla="*/ 0 w 204"/>
                <a:gd name="T19" fmla="*/ 119 h 204"/>
                <a:gd name="T20" fmla="*/ 0 w 204"/>
                <a:gd name="T21" fmla="*/ 83 h 204"/>
                <a:gd name="T22" fmla="*/ 83 w 204"/>
                <a:gd name="T23" fmla="*/ 83 h 204"/>
                <a:gd name="T24" fmla="*/ 83 w 204"/>
                <a:gd name="T2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4" h="204">
                  <a:moveTo>
                    <a:pt x="83" y="0"/>
                  </a:moveTo>
                  <a:lnTo>
                    <a:pt x="119" y="0"/>
                  </a:lnTo>
                  <a:lnTo>
                    <a:pt x="119" y="83"/>
                  </a:lnTo>
                  <a:lnTo>
                    <a:pt x="204" y="83"/>
                  </a:lnTo>
                  <a:lnTo>
                    <a:pt x="204" y="119"/>
                  </a:lnTo>
                  <a:lnTo>
                    <a:pt x="119" y="119"/>
                  </a:lnTo>
                  <a:lnTo>
                    <a:pt x="119" y="204"/>
                  </a:lnTo>
                  <a:lnTo>
                    <a:pt x="83" y="204"/>
                  </a:lnTo>
                  <a:lnTo>
                    <a:pt x="83" y="119"/>
                  </a:lnTo>
                  <a:lnTo>
                    <a:pt x="0" y="119"/>
                  </a:lnTo>
                  <a:lnTo>
                    <a:pt x="0" y="83"/>
                  </a:lnTo>
                  <a:lnTo>
                    <a:pt x="83" y="83"/>
                  </a:lnTo>
                  <a:lnTo>
                    <a:pt x="83" y="0"/>
                  </a:lnTo>
                  <a:close/>
                </a:path>
              </a:pathLst>
            </a:custGeom>
            <a:solidFill>
              <a:schemeClr val="bg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00">
                <a:latin typeface="+mn-lt"/>
              </a:endParaRPr>
            </a:p>
          </p:txBody>
        </p:sp>
      </p:grpSp>
      <p:sp>
        <p:nvSpPr>
          <p:cNvPr id="65" name="Rectangle 11"/>
          <p:cNvSpPr txBox="1">
            <a:spLocks/>
          </p:cNvSpPr>
          <p:nvPr/>
        </p:nvSpPr>
        <p:spPr>
          <a:xfrm>
            <a:off x="1222075" y="1906658"/>
            <a:ext cx="770662" cy="286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accent3"/>
                </a:solidFill>
              </a:rPr>
              <a:t>Singapore</a:t>
            </a:r>
          </a:p>
        </p:txBody>
      </p:sp>
      <p:pic>
        <p:nvPicPr>
          <p:cNvPr id="16387" name="Picture 3" descr="W:\Production Transfer\Flags\Flags 3D buttonsss\Singapore.png"/>
          <p:cNvPicPr preferRelativeResize="0"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150" y="1928871"/>
            <a:ext cx="246888" cy="246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" name="Rectangle 11"/>
          <p:cNvSpPr txBox="1">
            <a:spLocks/>
          </p:cNvSpPr>
          <p:nvPr/>
        </p:nvSpPr>
        <p:spPr>
          <a:xfrm>
            <a:off x="603797" y="1906658"/>
            <a:ext cx="212708" cy="286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accent3"/>
                </a:solidFill>
              </a:rPr>
              <a:t>1</a:t>
            </a:r>
          </a:p>
        </p:txBody>
      </p:sp>
      <p:sp>
        <p:nvSpPr>
          <p:cNvPr id="66" name="Rectangle 11"/>
          <p:cNvSpPr txBox="1">
            <a:spLocks/>
          </p:cNvSpPr>
          <p:nvPr/>
        </p:nvSpPr>
        <p:spPr>
          <a:xfrm>
            <a:off x="1222075" y="2736417"/>
            <a:ext cx="770662" cy="314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accent3"/>
                </a:solidFill>
              </a:rPr>
              <a:t>Hong Kong</a:t>
            </a:r>
          </a:p>
          <a:p>
            <a:r>
              <a:rPr lang="en-US" sz="1000" b="1" dirty="0">
                <a:solidFill>
                  <a:schemeClr val="accent3"/>
                </a:solidFill>
              </a:rPr>
              <a:t>SAR, China</a:t>
            </a:r>
          </a:p>
        </p:txBody>
      </p:sp>
      <p:pic>
        <p:nvPicPr>
          <p:cNvPr id="16388" name="Picture 4" descr="W:\Production Transfer\Flags\Flags 3D buttonsss\Hong Kong.png"/>
          <p:cNvPicPr preferRelativeResize="0"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150" y="2772446"/>
            <a:ext cx="246888" cy="246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" name="Rectangle 11"/>
          <p:cNvSpPr txBox="1">
            <a:spLocks/>
          </p:cNvSpPr>
          <p:nvPr/>
        </p:nvSpPr>
        <p:spPr>
          <a:xfrm>
            <a:off x="603797" y="2814923"/>
            <a:ext cx="212708" cy="157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000" b="1" dirty="0">
                <a:solidFill>
                  <a:schemeClr val="accent3"/>
                </a:solidFill>
              </a:rPr>
              <a:t>3</a:t>
            </a:r>
            <a:endParaRPr lang="en-US" sz="1000" b="1" dirty="0">
              <a:solidFill>
                <a:schemeClr val="accent3"/>
              </a:solidFill>
            </a:endParaRPr>
          </a:p>
        </p:txBody>
      </p:sp>
      <p:sp>
        <p:nvSpPr>
          <p:cNvPr id="68" name="Rectangle 11"/>
          <p:cNvSpPr txBox="1">
            <a:spLocks/>
          </p:cNvSpPr>
          <p:nvPr/>
        </p:nvSpPr>
        <p:spPr>
          <a:xfrm>
            <a:off x="1222075" y="3209522"/>
            <a:ext cx="770662" cy="286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accent3"/>
                </a:solidFill>
              </a:rPr>
              <a:t>Germany</a:t>
            </a:r>
          </a:p>
        </p:txBody>
      </p:sp>
      <p:pic>
        <p:nvPicPr>
          <p:cNvPr id="16390" name="Picture 6" descr="W:\Production Transfer\Flags\Flags 3D buttonsss\Germany.png"/>
          <p:cNvPicPr preferRelativeResize="0"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150" y="3231735"/>
            <a:ext cx="246888" cy="246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6" name="Rectangle 11"/>
          <p:cNvSpPr txBox="1">
            <a:spLocks/>
          </p:cNvSpPr>
          <p:nvPr/>
        </p:nvSpPr>
        <p:spPr>
          <a:xfrm>
            <a:off x="603797" y="3209522"/>
            <a:ext cx="212708" cy="286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accent3"/>
                </a:solidFill>
              </a:rPr>
              <a:t>13</a:t>
            </a:r>
          </a:p>
        </p:txBody>
      </p:sp>
      <p:sp>
        <p:nvSpPr>
          <p:cNvPr id="69" name="Rectangle 11"/>
          <p:cNvSpPr txBox="1">
            <a:spLocks/>
          </p:cNvSpPr>
          <p:nvPr/>
        </p:nvSpPr>
        <p:spPr>
          <a:xfrm>
            <a:off x="1222075" y="4115623"/>
            <a:ext cx="770662" cy="286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accent3"/>
                </a:solidFill>
              </a:rPr>
              <a:t>Saudi</a:t>
            </a:r>
          </a:p>
          <a:p>
            <a:r>
              <a:rPr lang="en-US" sz="1000" b="1" dirty="0">
                <a:solidFill>
                  <a:schemeClr val="accent3"/>
                </a:solidFill>
              </a:rPr>
              <a:t>Arabia</a:t>
            </a:r>
          </a:p>
        </p:txBody>
      </p:sp>
      <p:pic>
        <p:nvPicPr>
          <p:cNvPr id="16391" name="Picture 7" descr="W:\Production Transfer\Flags\Flags 3D buttonsss\Saudi Arabia.png"/>
          <p:cNvPicPr preferRelativeResize="0"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150" y="4137835"/>
            <a:ext cx="246888" cy="246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7" name="Rectangle 11"/>
          <p:cNvSpPr txBox="1">
            <a:spLocks/>
          </p:cNvSpPr>
          <p:nvPr/>
        </p:nvSpPr>
        <p:spPr>
          <a:xfrm>
            <a:off x="603797" y="4115623"/>
            <a:ext cx="212708" cy="286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000" b="1" dirty="0">
                <a:solidFill>
                  <a:schemeClr val="accent3"/>
                </a:solidFill>
              </a:rPr>
              <a:t>44</a:t>
            </a:r>
            <a:endParaRPr lang="en-US" sz="1000" b="1" dirty="0">
              <a:solidFill>
                <a:schemeClr val="accent3"/>
              </a:solidFill>
            </a:endParaRPr>
          </a:p>
        </p:txBody>
      </p:sp>
      <p:sp>
        <p:nvSpPr>
          <p:cNvPr id="70" name="Rectangle 11"/>
          <p:cNvSpPr txBox="1">
            <a:spLocks/>
          </p:cNvSpPr>
          <p:nvPr/>
        </p:nvSpPr>
        <p:spPr>
          <a:xfrm>
            <a:off x="1222075" y="3662573"/>
            <a:ext cx="770662" cy="286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accent3"/>
                </a:solidFill>
              </a:rPr>
              <a:t>UAE</a:t>
            </a:r>
          </a:p>
        </p:txBody>
      </p:sp>
      <p:pic>
        <p:nvPicPr>
          <p:cNvPr id="16392" name="Picture 8" descr="W:\Production Transfer\Flags\Flags 3D buttonsss\United Arab Emirates (UAE).png"/>
          <p:cNvPicPr preferRelativeResize="0"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150" y="3684786"/>
            <a:ext cx="246888" cy="246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8" name="Rectangle 11"/>
          <p:cNvSpPr txBox="1">
            <a:spLocks/>
          </p:cNvSpPr>
          <p:nvPr/>
        </p:nvSpPr>
        <p:spPr>
          <a:xfrm>
            <a:off x="603797" y="3662573"/>
            <a:ext cx="212708" cy="286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accent3"/>
                </a:solidFill>
              </a:rPr>
              <a:t>25</a:t>
            </a:r>
          </a:p>
        </p:txBody>
      </p:sp>
      <p:sp>
        <p:nvSpPr>
          <p:cNvPr id="71" name="Rectangle 11"/>
          <p:cNvSpPr txBox="1">
            <a:spLocks/>
          </p:cNvSpPr>
          <p:nvPr/>
        </p:nvSpPr>
        <p:spPr>
          <a:xfrm>
            <a:off x="1222075" y="4568673"/>
            <a:ext cx="770662" cy="286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accent3"/>
                </a:solidFill>
              </a:rPr>
              <a:t>Qatar</a:t>
            </a:r>
          </a:p>
        </p:txBody>
      </p:sp>
      <p:pic>
        <p:nvPicPr>
          <p:cNvPr id="16393" name="Picture 9" descr="W:\Production Transfer\Flags\Flags 3D buttonsss\Qatar.png"/>
          <p:cNvPicPr preferRelativeResize="0"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150" y="4590885"/>
            <a:ext cx="246888" cy="246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9" name="Rectangle 11"/>
          <p:cNvSpPr txBox="1">
            <a:spLocks/>
          </p:cNvSpPr>
          <p:nvPr/>
        </p:nvSpPr>
        <p:spPr>
          <a:xfrm>
            <a:off x="603797" y="4568673"/>
            <a:ext cx="212708" cy="286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accent3"/>
                </a:solidFill>
              </a:rPr>
              <a:t>45</a:t>
            </a:r>
          </a:p>
        </p:txBody>
      </p:sp>
      <p:sp>
        <p:nvSpPr>
          <p:cNvPr id="72" name="Rectangle 11"/>
          <p:cNvSpPr txBox="1">
            <a:spLocks/>
          </p:cNvSpPr>
          <p:nvPr/>
        </p:nvSpPr>
        <p:spPr>
          <a:xfrm>
            <a:off x="1222075" y="5021729"/>
            <a:ext cx="770662" cy="286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smtClean="0">
                <a:solidFill>
                  <a:schemeClr val="accent3"/>
                </a:solidFill>
              </a:rPr>
              <a:t>Bahrain</a:t>
            </a:r>
            <a:endParaRPr lang="en-US" sz="1000" b="1" dirty="0">
              <a:solidFill>
                <a:schemeClr val="accent3"/>
              </a:solidFill>
            </a:endParaRPr>
          </a:p>
        </p:txBody>
      </p:sp>
      <p:pic>
        <p:nvPicPr>
          <p:cNvPr id="16394" name="Picture 10" descr="W:\Production Transfer\Flags\Flags 3D buttonsss\Bahrain.png"/>
          <p:cNvPicPr preferRelativeResize="0"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150" y="5043941"/>
            <a:ext cx="246888" cy="246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0" name="Rectangle 11"/>
          <p:cNvSpPr txBox="1">
            <a:spLocks/>
          </p:cNvSpPr>
          <p:nvPr/>
        </p:nvSpPr>
        <p:spPr>
          <a:xfrm>
            <a:off x="603797" y="5021729"/>
            <a:ext cx="212708" cy="286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000" b="1" dirty="0">
                <a:solidFill>
                  <a:schemeClr val="accent3"/>
                </a:solidFill>
              </a:rPr>
              <a:t>53</a:t>
            </a:r>
            <a:endParaRPr lang="en-US" sz="1000" b="1" dirty="0">
              <a:solidFill>
                <a:schemeClr val="accent3"/>
              </a:solidFill>
            </a:endParaRPr>
          </a:p>
        </p:txBody>
      </p:sp>
      <p:sp>
        <p:nvSpPr>
          <p:cNvPr id="120" name="Line 106"/>
          <p:cNvSpPr>
            <a:spLocks noChangeShapeType="1"/>
          </p:cNvSpPr>
          <p:nvPr/>
        </p:nvSpPr>
        <p:spPr bwMode="gray">
          <a:xfrm>
            <a:off x="603797" y="2666905"/>
            <a:ext cx="1388942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endParaRPr lang="en-US" sz="100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121" name="Line 106"/>
          <p:cNvSpPr>
            <a:spLocks noChangeShapeType="1"/>
          </p:cNvSpPr>
          <p:nvPr/>
        </p:nvSpPr>
        <p:spPr bwMode="gray">
          <a:xfrm>
            <a:off x="603797" y="3119955"/>
            <a:ext cx="1388942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endParaRPr lang="en-US" sz="100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123" name="Line 106"/>
          <p:cNvSpPr>
            <a:spLocks noChangeShapeType="1"/>
          </p:cNvSpPr>
          <p:nvPr/>
        </p:nvSpPr>
        <p:spPr bwMode="gray">
          <a:xfrm>
            <a:off x="603797" y="3579243"/>
            <a:ext cx="1388942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endParaRPr lang="en-US" sz="100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124" name="Line 106"/>
          <p:cNvSpPr>
            <a:spLocks noChangeShapeType="1"/>
          </p:cNvSpPr>
          <p:nvPr/>
        </p:nvSpPr>
        <p:spPr bwMode="gray">
          <a:xfrm>
            <a:off x="603797" y="4032293"/>
            <a:ext cx="1388942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endParaRPr lang="en-US" sz="100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125" name="Line 106"/>
          <p:cNvSpPr>
            <a:spLocks noChangeShapeType="1"/>
          </p:cNvSpPr>
          <p:nvPr/>
        </p:nvSpPr>
        <p:spPr bwMode="gray">
          <a:xfrm>
            <a:off x="603797" y="4485344"/>
            <a:ext cx="1388942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endParaRPr lang="en-US" sz="100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126" name="Line 106"/>
          <p:cNvSpPr>
            <a:spLocks noChangeShapeType="1"/>
          </p:cNvSpPr>
          <p:nvPr/>
        </p:nvSpPr>
        <p:spPr bwMode="gray">
          <a:xfrm>
            <a:off x="603797" y="4938394"/>
            <a:ext cx="1388942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endParaRPr lang="en-US" sz="1000">
              <a:solidFill>
                <a:schemeClr val="accent3"/>
              </a:solidFill>
              <a:latin typeface="+mn-lt"/>
            </a:endParaRPr>
          </a:p>
        </p:txBody>
      </p:sp>
      <p:pic>
        <p:nvPicPr>
          <p:cNvPr id="170" name="Picture 3" descr="W:\Production Transfer\Flags\Flags 3D buttonsss\Singapore.png"/>
          <p:cNvPicPr preferRelativeResize="0">
            <a:picLocks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2000" y="1953651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0" name="Picture 3" descr="W:\Production Transfer\Flags\Flags 3D buttonsss\Singapore.png"/>
          <p:cNvPicPr preferRelativeResize="0"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5603" y="2401863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2" name="Picture 3" descr="W:\Production Transfer\Flags\Flags 3D buttonsss\Singapore.png"/>
          <p:cNvPicPr preferRelativeResize="0"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208" y="2859184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7" name="Picture 3" descr="W:\Production Transfer\Flags\Flags 3D buttonsss\Singapore.png"/>
          <p:cNvPicPr preferRelativeResize="0"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7813" y="3314276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" name="Picture 3" descr="W:\Production Transfer\Flags\Flags 3D buttonsss\Singapore.png"/>
          <p:cNvPicPr preferRelativeResize="0"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0534" y="3768404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" name="Picture 3" descr="W:\Production Transfer\Flags\Flags 3D buttonsss\Singapore.png"/>
          <p:cNvPicPr preferRelativeResize="0"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1937" y="4226035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9" name="Picture 3" descr="W:\Production Transfer\Flags\Flags 3D buttonsss\Singapore.png"/>
          <p:cNvPicPr preferRelativeResize="0"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5314" y="4668678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2" name="Picture 3" descr="W:\Production Transfer\Flags\Flags 3D buttonsss\Singapore.png"/>
          <p:cNvPicPr preferRelativeResize="0"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2638" y="5126280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3" name="Picture 3" descr="W:\Production Transfer\Flags\Flags 3D buttonsss\Singapore.png"/>
          <p:cNvPicPr preferRelativeResize="0"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2638" y="5578653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4" name="Picture 3" descr="W:\Production Transfer\Flags\Flags 3D buttonsss\Singapore.png"/>
          <p:cNvPicPr preferRelativeResize="0"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2433" y="6024770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" name="Picture 4" descr="W:\Production Transfer\Flags\Flags 3D buttonsss\Hong Kong.png"/>
          <p:cNvPicPr preferRelativeResize="0">
            <a:picLocks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2923" y="1953651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6" name="Picture 4" descr="W:\Production Transfer\Flags\Flags 3D buttonsss\Hong Kong.png"/>
          <p:cNvPicPr preferRelativeResize="0">
            <a:picLocks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2638" y="2401863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7" name="Picture 4" descr="W:\Production Transfer\Flags\Flags 3D buttonsss\Hong Kong.png"/>
          <p:cNvPicPr preferRelativeResize="0">
            <a:picLocks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5769" y="2859184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8" name="Picture 4" descr="W:\Production Transfer\Flags\Flags 3D buttonsss\Hong Kong.png"/>
          <p:cNvPicPr preferRelativeResize="0">
            <a:picLocks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5176" y="3314276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9" name="Picture 4" descr="W:\Production Transfer\Flags\Flags 3D buttonsss\Hong Kong.png"/>
          <p:cNvPicPr preferRelativeResize="0">
            <a:picLocks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5314" y="3768404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0" name="Picture 4" descr="W:\Production Transfer\Flags\Flags 3D buttonsss\Hong Kong.png"/>
          <p:cNvPicPr preferRelativeResize="0">
            <a:picLocks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1050" y="4226035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1" name="Picture 4" descr="W:\Production Transfer\Flags\Flags 3D buttonsss\Hong Kong.png"/>
          <p:cNvPicPr preferRelativeResize="0">
            <a:picLocks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8975" y="4668678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2" name="Picture 4" descr="W:\Production Transfer\Flags\Flags 3D buttonsss\Hong Kong.png"/>
          <p:cNvPicPr preferRelativeResize="0">
            <a:picLocks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5603" y="5126280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3" name="Picture 4" descr="W:\Production Transfer\Flags\Flags 3D buttonsss\Hong Kong.png"/>
          <p:cNvPicPr preferRelativeResize="0">
            <a:picLocks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2000" y="5578653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4" name="Picture 4" descr="W:\Production Transfer\Flags\Flags 3D buttonsss\Hong Kong.png"/>
          <p:cNvPicPr preferRelativeResize="0">
            <a:picLocks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2888" y="6024770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" name="Picture 6" descr="W:\Production Transfer\Flags\Flags 3D buttonsss\Germany.png"/>
          <p:cNvPicPr preferRelativeResize="0">
            <a:picLocks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3833" y="1953651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6" name="Picture 6" descr="W:\Production Transfer\Flags\Flags 3D buttonsss\Germany.png"/>
          <p:cNvPicPr preferRelativeResize="0">
            <a:picLocks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1534" y="2401863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7" name="Picture 6" descr="W:\Production Transfer\Flags\Flags 3D buttonsss\Germany.png"/>
          <p:cNvPicPr preferRelativeResize="0">
            <a:picLocks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2623" y="2859184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8" name="Picture 6" descr="W:\Production Transfer\Flags\Flags 3D buttonsss\Germany.png"/>
          <p:cNvPicPr preferRelativeResize="0">
            <a:picLocks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5373" y="3314276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9" name="Picture 6" descr="W:\Production Transfer\Flags\Flags 3D buttonsss\Germany.png"/>
          <p:cNvPicPr preferRelativeResize="0">
            <a:picLocks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0534" y="3951275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0" name="Picture 6" descr="W:\Production Transfer\Flags\Flags 3D buttonsss\Germany.png"/>
          <p:cNvPicPr preferRelativeResize="0">
            <a:picLocks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8779" y="4226035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1" name="Picture 6" descr="W:\Production Transfer\Flags\Flags 3D buttonsss\Germany.png"/>
          <p:cNvPicPr preferRelativeResize="0">
            <a:picLocks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5899" y="4668678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2" name="Picture 6" descr="W:\Production Transfer\Flags\Flags 3D buttonsss\Germany.png"/>
          <p:cNvPicPr preferRelativeResize="0">
            <a:picLocks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1534" y="5126280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3" name="Picture 6" descr="W:\Production Transfer\Flags\Flags 3D buttonsss\Germany.png"/>
          <p:cNvPicPr preferRelativeResize="0">
            <a:picLocks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9634" y="5578653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4" name="Picture 6" descr="W:\Production Transfer\Flags\Flags 3D buttonsss\Germany.png"/>
          <p:cNvPicPr preferRelativeResize="0">
            <a:picLocks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2623" y="6024770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" name="Picture 8" descr="W:\Production Transfer\Flags\Flags 3D buttonsss\United Arab Emirates (UAE).png"/>
          <p:cNvPicPr preferRelativeResize="0">
            <a:picLocks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1330" y="1953651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6" name="Picture 8" descr="W:\Production Transfer\Flags\Flags 3D buttonsss\United Arab Emirates (UAE).png"/>
          <p:cNvPicPr preferRelativeResize="0">
            <a:picLocks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8569" y="2401863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7" name="Picture 8" descr="W:\Production Transfer\Flags\Flags 3D buttonsss\United Arab Emirates (UAE).png"/>
          <p:cNvPicPr preferRelativeResize="0">
            <a:picLocks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2623" y="3036732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8" name="Picture 8" descr="W:\Production Transfer\Flags\Flags 3D buttonsss\United Arab Emirates (UAE).png"/>
          <p:cNvPicPr preferRelativeResize="0">
            <a:picLocks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7555" y="3314276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9" name="Picture 8" descr="W:\Production Transfer\Flags\Flags 3D buttonsss\United Arab Emirates (UAE).png"/>
          <p:cNvPicPr preferRelativeResize="0">
            <a:picLocks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5889" y="3768404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0" name="Picture 8" descr="W:\Production Transfer\Flags\Flags 3D buttonsss\United Arab Emirates (UAE).png"/>
          <p:cNvPicPr preferRelativeResize="0">
            <a:picLocks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1945" y="4226035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1" name="Picture 8" descr="W:\Production Transfer\Flags\Flags 3D buttonsss\United Arab Emirates (UAE).png"/>
          <p:cNvPicPr preferRelativeResize="0">
            <a:picLocks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2638" y="4668678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2" name="Picture 8" descr="W:\Production Transfer\Flags\Flags 3D buttonsss\United Arab Emirates (UAE).png"/>
          <p:cNvPicPr preferRelativeResize="0">
            <a:picLocks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8569" y="5126280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3" name="Picture 8" descr="W:\Production Transfer\Flags\Flags 3D buttonsss\United Arab Emirates (UAE).png"/>
          <p:cNvPicPr preferRelativeResize="0">
            <a:picLocks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6078" y="5578653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4" name="Picture 8" descr="W:\Production Transfer\Flags\Flags 3D buttonsss\United Arab Emirates (UAE).png"/>
          <p:cNvPicPr preferRelativeResize="0">
            <a:picLocks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2987" y="6024770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5" name="Picture 7" descr="W:\Production Transfer\Flags\Flags 3D buttonsss\Saudi Arabia.png"/>
          <p:cNvPicPr preferRelativeResize="0">
            <a:picLocks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2987" y="1953651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" name="Picture 7" descr="W:\Production Transfer\Flags\Flags 3D buttonsss\Saudi Arabia.png"/>
          <p:cNvPicPr preferRelativeResize="0">
            <a:picLocks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2926" y="2401863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7" name="Picture 7" descr="W:\Production Transfer\Flags\Flags 3D buttonsss\Saudi Arabia.png"/>
          <p:cNvPicPr preferRelativeResize="0">
            <a:picLocks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9449" y="2859184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8" name="Picture 7" descr="W:\Production Transfer\Flags\Flags 3D buttonsss\Saudi Arabia.png"/>
          <p:cNvPicPr preferRelativeResize="0">
            <a:picLocks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2133" y="3314276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9" name="Picture 7" descr="W:\Production Transfer\Flags\Flags 3D buttonsss\Saudi Arabia.png"/>
          <p:cNvPicPr preferRelativeResize="0">
            <a:picLocks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4934" y="3768404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0" name="Picture 7" descr="W:\Production Transfer\Flags\Flags 3D buttonsss\Saudi Arabia.png"/>
          <p:cNvPicPr preferRelativeResize="0">
            <a:picLocks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1610" y="4226035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1" name="Picture 7" descr="W:\Production Transfer\Flags\Flags 3D buttonsss\Saudi Arabia.png"/>
          <p:cNvPicPr preferRelativeResize="0">
            <a:picLocks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8975" y="4869930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2" name="Picture 7" descr="W:\Production Transfer\Flags\Flags 3D buttonsss\Saudi Arabia.png"/>
          <p:cNvPicPr preferRelativeResize="0">
            <a:picLocks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7330" y="5126280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3" name="Picture 7" descr="W:\Production Transfer\Flags\Flags 3D buttonsss\Saudi Arabia.png"/>
          <p:cNvPicPr preferRelativeResize="0">
            <a:picLocks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8626" y="5578653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4" name="Picture 7" descr="W:\Production Transfer\Flags\Flags 3D buttonsss\Saudi Arabia.png"/>
          <p:cNvPicPr preferRelativeResize="0">
            <a:picLocks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9171" y="6024770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5" name="Picture 9" descr="W:\Production Transfer\Flags\Flags 3D buttonsss\Qatar.png"/>
          <p:cNvPicPr preferRelativeResize="0">
            <a:picLocks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4384" y="1953651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" name="Picture 9" descr="W:\Production Transfer\Flags\Flags 3D buttonsss\Qatar.png"/>
          <p:cNvPicPr preferRelativeResize="0">
            <a:picLocks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2230" y="2401863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7" name="Picture 9" descr="W:\Production Transfer\Flags\Flags 3D buttonsss\Qatar.png"/>
          <p:cNvPicPr preferRelativeResize="0">
            <a:picLocks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769" y="2859184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8" name="Picture 9" descr="W:\Production Transfer\Flags\Flags 3D buttonsss\Qatar.png"/>
          <p:cNvPicPr preferRelativeResize="0">
            <a:picLocks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7955" y="3314276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9" name="Picture 9" descr="W:\Production Transfer\Flags\Flags 3D buttonsss\Qatar.png"/>
          <p:cNvPicPr preferRelativeResize="0">
            <a:picLocks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2905" y="3768404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0" name="Picture 9" descr="W:\Production Transfer\Flags\Flags 3D buttonsss\Qatar.png"/>
          <p:cNvPicPr preferRelativeResize="0">
            <a:picLocks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4637" y="4226035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1" name="Picture 9" descr="W:\Production Transfer\Flags\Flags 3D buttonsss\Qatar.png"/>
          <p:cNvPicPr preferRelativeResize="0">
            <a:picLocks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2163" y="4845208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2" name="Picture 9" descr="W:\Production Transfer\Flags\Flags 3D buttonsss\Qatar.png"/>
          <p:cNvPicPr preferRelativeResize="0">
            <a:picLocks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932" y="5126280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3" name="Picture 9" descr="W:\Production Transfer\Flags\Flags 3D buttonsss\Qatar.png"/>
          <p:cNvPicPr preferRelativeResize="0">
            <a:picLocks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1505" y="5578653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4" name="Picture 9" descr="W:\Production Transfer\Flags\Flags 3D buttonsss\Qatar.png"/>
          <p:cNvPicPr preferRelativeResize="0">
            <a:picLocks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6531" y="6024770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5" name="Picture 10" descr="W:\Production Transfer\Flags\Flags 3D buttonsss\Bahrain.png"/>
          <p:cNvPicPr preferRelativeResize="0">
            <a:picLocks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2905" y="1953651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" name="Picture 10" descr="W:\Production Transfer\Flags\Flags 3D buttonsss\Bahrain.png"/>
          <p:cNvPicPr preferRelativeResize="0">
            <a:picLocks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8130" y="2597554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8" name="Picture 10" descr="W:\Production Transfer\Flags\Flags 3D buttonsss\Bahrain.png"/>
          <p:cNvPicPr preferRelativeResize="0">
            <a:picLocks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5632" y="2859184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9" name="Picture 10" descr="W:\Production Transfer\Flags\Flags 3D buttonsss\Bahrain.png"/>
          <p:cNvPicPr preferRelativeResize="0">
            <a:picLocks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9350" y="3314276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0" name="Picture 10" descr="W:\Production Transfer\Flags\Flags 3D buttonsss\Bahrain.png"/>
          <p:cNvPicPr preferRelativeResize="0">
            <a:picLocks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5746" y="3768404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1" name="Picture 10" descr="W:\Production Transfer\Flags\Flags 3D buttonsss\Bahrain.png"/>
          <p:cNvPicPr preferRelativeResize="0">
            <a:picLocks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6713" y="4226035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2" name="Picture 10" descr="W:\Production Transfer\Flags\Flags 3D buttonsss\Bahrain.png"/>
          <p:cNvPicPr preferRelativeResize="0">
            <a:picLocks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0693" y="4668678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3" name="Picture 10" descr="W:\Production Transfer\Flags\Flags 3D buttonsss\Bahrain.png"/>
          <p:cNvPicPr preferRelativeResize="0">
            <a:picLocks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3574" y="5126280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5" name="Picture 10" descr="W:\Production Transfer\Flags\Flags 3D buttonsss\Bahrain.png"/>
          <p:cNvPicPr preferRelativeResize="0">
            <a:picLocks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2005" y="5578653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" name="Picture 10" descr="W:\Production Transfer\Flags\Flags 3D buttonsss\Bahrain.png"/>
          <p:cNvPicPr preferRelativeResize="0">
            <a:picLocks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5866" y="6024770"/>
            <a:ext cx="182880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1" name="Straight Connector 30"/>
          <p:cNvCxnSpPr>
            <a:stCxn id="265" idx="2"/>
            <a:endCxn id="266" idx="0"/>
          </p:cNvCxnSpPr>
          <p:nvPr/>
        </p:nvCxnSpPr>
        <p:spPr>
          <a:xfrm>
            <a:off x="5525823" y="2136532"/>
            <a:ext cx="2097846" cy="265331"/>
          </a:xfrm>
          <a:prstGeom prst="line">
            <a:avLst/>
          </a:prstGeom>
          <a:noFill/>
          <a:ln w="1905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7" name="Straight Connector 286"/>
          <p:cNvCxnSpPr>
            <a:stCxn id="266" idx="2"/>
            <a:endCxn id="267" idx="0"/>
          </p:cNvCxnSpPr>
          <p:nvPr/>
        </p:nvCxnSpPr>
        <p:spPr>
          <a:xfrm flipH="1">
            <a:off x="6959209" y="2584742"/>
            <a:ext cx="664461" cy="274441"/>
          </a:xfrm>
          <a:prstGeom prst="line">
            <a:avLst/>
          </a:prstGeom>
          <a:noFill/>
          <a:ln w="1905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8" name="Straight Connector 287"/>
          <p:cNvCxnSpPr>
            <a:stCxn id="267" idx="2"/>
            <a:endCxn id="268" idx="0"/>
          </p:cNvCxnSpPr>
          <p:nvPr/>
        </p:nvCxnSpPr>
        <p:spPr>
          <a:xfrm>
            <a:off x="6959209" y="3042064"/>
            <a:ext cx="120187" cy="272212"/>
          </a:xfrm>
          <a:prstGeom prst="line">
            <a:avLst/>
          </a:prstGeom>
          <a:noFill/>
          <a:ln w="1905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9" name="Straight Connector 288"/>
          <p:cNvCxnSpPr>
            <a:stCxn id="268" idx="2"/>
            <a:endCxn id="269" idx="0"/>
          </p:cNvCxnSpPr>
          <p:nvPr/>
        </p:nvCxnSpPr>
        <p:spPr>
          <a:xfrm flipH="1">
            <a:off x="4774346" y="3497156"/>
            <a:ext cx="2305050" cy="271249"/>
          </a:xfrm>
          <a:prstGeom prst="line">
            <a:avLst/>
          </a:prstGeom>
          <a:noFill/>
          <a:ln w="1905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0" name="Straight Connector 289"/>
          <p:cNvCxnSpPr>
            <a:stCxn id="269" idx="2"/>
            <a:endCxn id="270" idx="0"/>
          </p:cNvCxnSpPr>
          <p:nvPr/>
        </p:nvCxnSpPr>
        <p:spPr>
          <a:xfrm>
            <a:off x="4774346" y="3951285"/>
            <a:ext cx="171732" cy="274751"/>
          </a:xfrm>
          <a:prstGeom prst="line">
            <a:avLst/>
          </a:prstGeom>
          <a:noFill/>
          <a:ln w="1905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1" name="Straight Connector 290"/>
          <p:cNvCxnSpPr>
            <a:stCxn id="270" idx="2"/>
            <a:endCxn id="271" idx="0"/>
          </p:cNvCxnSpPr>
          <p:nvPr/>
        </p:nvCxnSpPr>
        <p:spPr>
          <a:xfrm>
            <a:off x="4946078" y="4408916"/>
            <a:ext cx="3297525" cy="436292"/>
          </a:xfrm>
          <a:prstGeom prst="line">
            <a:avLst/>
          </a:prstGeom>
          <a:noFill/>
          <a:ln w="1905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2" name="Straight Connector 291"/>
          <p:cNvCxnSpPr>
            <a:stCxn id="271" idx="2"/>
            <a:endCxn id="272" idx="0"/>
          </p:cNvCxnSpPr>
          <p:nvPr/>
        </p:nvCxnSpPr>
        <p:spPr>
          <a:xfrm flipH="1">
            <a:off x="6442372" y="5028088"/>
            <a:ext cx="1801231" cy="98193"/>
          </a:xfrm>
          <a:prstGeom prst="line">
            <a:avLst/>
          </a:prstGeom>
          <a:noFill/>
          <a:ln w="1905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3" name="Straight Connector 292"/>
          <p:cNvCxnSpPr>
            <a:stCxn id="272" idx="2"/>
            <a:endCxn id="273" idx="0"/>
          </p:cNvCxnSpPr>
          <p:nvPr/>
        </p:nvCxnSpPr>
        <p:spPr>
          <a:xfrm flipH="1">
            <a:off x="5412946" y="5309161"/>
            <a:ext cx="1029426" cy="269492"/>
          </a:xfrm>
          <a:prstGeom prst="line">
            <a:avLst/>
          </a:prstGeom>
          <a:noFill/>
          <a:ln w="1905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4" name="Straight Connector 293"/>
          <p:cNvCxnSpPr>
            <a:stCxn id="273" idx="2"/>
            <a:endCxn id="274" idx="0"/>
          </p:cNvCxnSpPr>
          <p:nvPr/>
        </p:nvCxnSpPr>
        <p:spPr>
          <a:xfrm>
            <a:off x="5412945" y="5761533"/>
            <a:ext cx="1295025" cy="263237"/>
          </a:xfrm>
          <a:prstGeom prst="line">
            <a:avLst/>
          </a:prstGeom>
          <a:noFill/>
          <a:ln w="1905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67" name="Line 106"/>
          <p:cNvSpPr>
            <a:spLocks noChangeShapeType="1"/>
          </p:cNvSpPr>
          <p:nvPr/>
        </p:nvSpPr>
        <p:spPr bwMode="gray">
          <a:xfrm>
            <a:off x="603797" y="2253515"/>
            <a:ext cx="1388942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6" tIns="46643" rIns="93286" bIns="46643" anchor="ctr"/>
          <a:lstStyle/>
          <a:p>
            <a:endParaRPr lang="en-US" sz="1000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368" name="Rectangle 11"/>
          <p:cNvSpPr txBox="1">
            <a:spLocks/>
          </p:cNvSpPr>
          <p:nvPr/>
        </p:nvSpPr>
        <p:spPr>
          <a:xfrm>
            <a:off x="623588" y="2325759"/>
            <a:ext cx="212708" cy="286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accent3"/>
                </a:solidFill>
              </a:rPr>
              <a:t>2</a:t>
            </a:r>
          </a:p>
        </p:txBody>
      </p:sp>
      <p:pic>
        <p:nvPicPr>
          <p:cNvPr id="369" name="Picture 368"/>
          <p:cNvPicPr>
            <a:picLocks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253" y="2345228"/>
            <a:ext cx="246888" cy="246888"/>
          </a:xfrm>
          <a:prstGeom prst="rect">
            <a:avLst/>
          </a:prstGeom>
        </p:spPr>
      </p:pic>
      <p:sp>
        <p:nvSpPr>
          <p:cNvPr id="370" name="Rectangle 11"/>
          <p:cNvSpPr txBox="1">
            <a:spLocks/>
          </p:cNvSpPr>
          <p:nvPr/>
        </p:nvSpPr>
        <p:spPr>
          <a:xfrm>
            <a:off x="1223546" y="2324623"/>
            <a:ext cx="770662" cy="286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accent3"/>
                </a:solidFill>
              </a:rPr>
              <a:t>New Zealand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10264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369771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51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8" y="356156"/>
            <a:ext cx="7261088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GB" dirty="0" err="1"/>
              <a:t>SME</a:t>
            </a:r>
            <a:r>
              <a:rPr lang="en-GB" dirty="0"/>
              <a:t> promotion around 6 pillars, focused on consistent customer journey </a:t>
            </a:r>
          </a:p>
        </p:txBody>
      </p:sp>
      <p:sp>
        <p:nvSpPr>
          <p:cNvPr id="5" name="McK 5. Source"/>
          <p:cNvSpPr>
            <a:spLocks noChangeArrowheads="1"/>
          </p:cNvSpPr>
          <p:nvPr/>
        </p:nvSpPr>
        <p:spPr bwMode="auto">
          <a:xfrm>
            <a:off x="121488" y="6635459"/>
            <a:ext cx="8099201" cy="153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555625" indent="-555625" defTabSz="913526">
              <a:tabLst>
                <a:tab pos="560388" algn="l"/>
              </a:tabLst>
            </a:pPr>
            <a:r>
              <a:rPr lang="en-US" sz="1000" dirty="0">
                <a:latin typeface="Tahoma"/>
                <a:ea typeface="Tahoma"/>
                <a:cs typeface="Tahoma"/>
                <a:sym typeface="Tahoma"/>
              </a:rPr>
              <a:t>SOURCE: Source</a:t>
            </a:r>
          </a:p>
        </p:txBody>
      </p:sp>
      <p:sp>
        <p:nvSpPr>
          <p:cNvPr id="32" name="Rectangle 31"/>
          <p:cNvSpPr>
            <a:spLocks/>
          </p:cNvSpPr>
          <p:nvPr/>
        </p:nvSpPr>
        <p:spPr>
          <a:xfrm>
            <a:off x="4966442" y="1591703"/>
            <a:ext cx="2049359" cy="1232476"/>
          </a:xfrm>
          <a:prstGeom prst="rect">
            <a:avLst/>
          </a:prstGeom>
          <a:gradFill>
            <a:gsLst>
              <a:gs pos="39000">
                <a:srgbClr val="E2C1F7"/>
              </a:gs>
              <a:gs pos="0">
                <a:schemeClr val="accent3">
                  <a:lumMod val="20000"/>
                  <a:lumOff val="80000"/>
                </a:schemeClr>
              </a:gs>
              <a:gs pos="69000">
                <a:srgbClr val="E4C5F8"/>
              </a:gs>
              <a:gs pos="100000">
                <a:schemeClr val="accent3">
                  <a:lumMod val="40000"/>
                  <a:lumOff val="60000"/>
                </a:schemeClr>
              </a:gs>
            </a:gsLst>
            <a:lin ang="5400000" scaled="1"/>
          </a:gradFill>
          <a:ln w="19050">
            <a:noFill/>
            <a:miter lim="800000"/>
            <a:headEnd/>
            <a:tailEnd/>
          </a:ln>
          <a:effectLst/>
        </p:spPr>
        <p:txBody>
          <a:bodyPr lIns="164592" tIns="182880" rIns="45720" bIns="45720" anchor="t">
            <a:noAutofit/>
          </a:bodyPr>
          <a:lstStyle/>
          <a:p>
            <a:pPr defTabSz="895350">
              <a:spcBef>
                <a:spcPct val="100000"/>
              </a:spcBef>
              <a:buClr>
                <a:schemeClr val="tx2"/>
              </a:buClr>
            </a:pPr>
            <a:endParaRPr lang="en-US" sz="1400" b="1" dirty="0" err="1">
              <a:solidFill>
                <a:schemeClr val="accent3"/>
              </a:solidFill>
              <a:cs typeface="Arial" pitchFamily="34" charset="0"/>
            </a:endParaRPr>
          </a:p>
        </p:txBody>
      </p:sp>
      <p:sp>
        <p:nvSpPr>
          <p:cNvPr id="34" name="Rectangle 33"/>
          <p:cNvSpPr>
            <a:spLocks/>
          </p:cNvSpPr>
          <p:nvPr/>
        </p:nvSpPr>
        <p:spPr>
          <a:xfrm>
            <a:off x="4966443" y="4950236"/>
            <a:ext cx="2049359" cy="1232476"/>
          </a:xfrm>
          <a:prstGeom prst="rect">
            <a:avLst/>
          </a:prstGeom>
          <a:gradFill>
            <a:gsLst>
              <a:gs pos="0">
                <a:schemeClr val="bg2">
                  <a:lumMod val="90000"/>
                </a:schemeClr>
              </a:gs>
              <a:gs pos="39000">
                <a:schemeClr val="accent1">
                  <a:lumMod val="45000"/>
                  <a:lumOff val="55000"/>
                </a:schemeClr>
              </a:gs>
              <a:gs pos="69000">
                <a:schemeClr val="accent1">
                  <a:lumMod val="45000"/>
                  <a:lumOff val="55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5400000" scaled="1"/>
          </a:gradFill>
          <a:ln w="19050">
            <a:noFill/>
            <a:miter lim="800000"/>
            <a:headEnd/>
            <a:tailEnd/>
          </a:ln>
          <a:effectLst/>
        </p:spPr>
        <p:txBody>
          <a:bodyPr lIns="164592" tIns="182880" rIns="45720" bIns="45720" anchor="t">
            <a:noAutofit/>
          </a:bodyPr>
          <a:lstStyle/>
          <a:p>
            <a:pPr defTabSz="895350">
              <a:spcBef>
                <a:spcPct val="100000"/>
              </a:spcBef>
              <a:buClr>
                <a:schemeClr val="tx2"/>
              </a:buClr>
            </a:pPr>
            <a:endParaRPr lang="en-US" sz="1400" b="1" dirty="0" err="1">
              <a:solidFill>
                <a:schemeClr val="accent3"/>
              </a:solidFill>
              <a:cs typeface="Arial" pitchFamily="34" charset="0"/>
            </a:endParaRPr>
          </a:p>
        </p:txBody>
      </p:sp>
      <p:sp>
        <p:nvSpPr>
          <p:cNvPr id="35" name="Rectangle 34"/>
          <p:cNvSpPr>
            <a:spLocks/>
          </p:cNvSpPr>
          <p:nvPr/>
        </p:nvSpPr>
        <p:spPr>
          <a:xfrm>
            <a:off x="2384046" y="4950236"/>
            <a:ext cx="2049359" cy="1232476"/>
          </a:xfrm>
          <a:prstGeom prst="rect">
            <a:avLst/>
          </a:prstGeom>
          <a:gradFill>
            <a:gsLst>
              <a:gs pos="0">
                <a:schemeClr val="bg2">
                  <a:lumMod val="90000"/>
                </a:schemeClr>
              </a:gs>
              <a:gs pos="39000">
                <a:schemeClr val="accent1">
                  <a:lumMod val="45000"/>
                  <a:lumOff val="55000"/>
                </a:schemeClr>
              </a:gs>
              <a:gs pos="69000">
                <a:schemeClr val="accent1">
                  <a:lumMod val="45000"/>
                  <a:lumOff val="55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5400000" scaled="1"/>
          </a:gradFill>
          <a:ln w="19050">
            <a:noFill/>
            <a:miter lim="800000"/>
            <a:headEnd/>
            <a:tailEnd/>
          </a:ln>
          <a:effectLst/>
        </p:spPr>
        <p:txBody>
          <a:bodyPr lIns="164592" tIns="182880" rIns="45720" bIns="45720" anchor="t">
            <a:noAutofit/>
          </a:bodyPr>
          <a:lstStyle/>
          <a:p>
            <a:pPr defTabSz="895350">
              <a:spcBef>
                <a:spcPct val="100000"/>
              </a:spcBef>
              <a:buClr>
                <a:schemeClr val="tx2"/>
              </a:buClr>
            </a:pPr>
            <a:endParaRPr lang="en-US" sz="1400" b="1" dirty="0" err="1">
              <a:solidFill>
                <a:schemeClr val="accent3"/>
              </a:solidFill>
              <a:cs typeface="Arial" pitchFamily="34" charset="0"/>
            </a:endParaRPr>
          </a:p>
        </p:txBody>
      </p:sp>
      <p:sp>
        <p:nvSpPr>
          <p:cNvPr id="11" name="Rectangle 10"/>
          <p:cNvSpPr>
            <a:spLocks/>
          </p:cNvSpPr>
          <p:nvPr/>
        </p:nvSpPr>
        <p:spPr>
          <a:xfrm>
            <a:off x="2384046" y="1591703"/>
            <a:ext cx="2049359" cy="1232476"/>
          </a:xfrm>
          <a:prstGeom prst="rect">
            <a:avLst/>
          </a:prstGeom>
          <a:gradFill>
            <a:gsLst>
              <a:gs pos="39000">
                <a:srgbClr val="E2C1F7"/>
              </a:gs>
              <a:gs pos="0">
                <a:schemeClr val="accent3">
                  <a:lumMod val="20000"/>
                  <a:lumOff val="80000"/>
                </a:schemeClr>
              </a:gs>
              <a:gs pos="69000">
                <a:srgbClr val="E4C5F8"/>
              </a:gs>
              <a:gs pos="100000">
                <a:schemeClr val="accent3">
                  <a:lumMod val="40000"/>
                  <a:lumOff val="60000"/>
                </a:schemeClr>
              </a:gs>
            </a:gsLst>
            <a:lin ang="5400000" scaled="1"/>
          </a:gradFill>
          <a:ln w="19050">
            <a:noFill/>
            <a:miter lim="800000"/>
            <a:headEnd/>
            <a:tailEnd/>
          </a:ln>
          <a:effectLst/>
        </p:spPr>
        <p:txBody>
          <a:bodyPr lIns="164592" tIns="182880" rIns="45720" bIns="45720" anchor="t">
            <a:noAutofit/>
          </a:bodyPr>
          <a:lstStyle/>
          <a:p>
            <a:pPr defTabSz="895350">
              <a:spcBef>
                <a:spcPct val="100000"/>
              </a:spcBef>
              <a:buClr>
                <a:schemeClr val="tx2"/>
              </a:buClr>
            </a:pPr>
            <a:endParaRPr lang="en-US" sz="1400" b="1" dirty="0" err="1">
              <a:solidFill>
                <a:schemeClr val="accent3"/>
              </a:solidFill>
              <a:cs typeface="Arial" pitchFamily="34" charset="0"/>
            </a:endParaRPr>
          </a:p>
        </p:txBody>
      </p:sp>
      <p:sp>
        <p:nvSpPr>
          <p:cNvPr id="54" name="Freeform 53"/>
          <p:cNvSpPr/>
          <p:nvPr/>
        </p:nvSpPr>
        <p:spPr>
          <a:xfrm>
            <a:off x="2384046" y="2818878"/>
            <a:ext cx="2274848" cy="543040"/>
          </a:xfrm>
          <a:custGeom>
            <a:avLst/>
            <a:gdLst>
              <a:gd name="connsiteX0" fmla="*/ 1538868 w 2274848"/>
              <a:gd name="connsiteY0" fmla="*/ 490653 h 490653"/>
              <a:gd name="connsiteX1" fmla="*/ 0 w 2274848"/>
              <a:gd name="connsiteY1" fmla="*/ 0 h 490653"/>
              <a:gd name="connsiteX2" fmla="*/ 2040673 w 2274848"/>
              <a:gd name="connsiteY2" fmla="*/ 0 h 490653"/>
              <a:gd name="connsiteX3" fmla="*/ 2274848 w 2274848"/>
              <a:gd name="connsiteY3" fmla="*/ 256478 h 490653"/>
              <a:gd name="connsiteX4" fmla="*/ 1538868 w 2274848"/>
              <a:gd name="connsiteY4" fmla="*/ 490653 h 490653"/>
              <a:gd name="connsiteX0" fmla="*/ 1591256 w 2274848"/>
              <a:gd name="connsiteY0" fmla="*/ 540659 h 540659"/>
              <a:gd name="connsiteX1" fmla="*/ 0 w 2274848"/>
              <a:gd name="connsiteY1" fmla="*/ 0 h 540659"/>
              <a:gd name="connsiteX2" fmla="*/ 2040673 w 2274848"/>
              <a:gd name="connsiteY2" fmla="*/ 0 h 540659"/>
              <a:gd name="connsiteX3" fmla="*/ 2274848 w 2274848"/>
              <a:gd name="connsiteY3" fmla="*/ 256478 h 540659"/>
              <a:gd name="connsiteX4" fmla="*/ 1591256 w 2274848"/>
              <a:gd name="connsiteY4" fmla="*/ 540659 h 540659"/>
              <a:gd name="connsiteX0" fmla="*/ 1591256 w 2274848"/>
              <a:gd name="connsiteY0" fmla="*/ 543040 h 543040"/>
              <a:gd name="connsiteX1" fmla="*/ 0 w 2274848"/>
              <a:gd name="connsiteY1" fmla="*/ 2381 h 543040"/>
              <a:gd name="connsiteX2" fmla="*/ 2047816 w 2274848"/>
              <a:gd name="connsiteY2" fmla="*/ 0 h 543040"/>
              <a:gd name="connsiteX3" fmla="*/ 2274848 w 2274848"/>
              <a:gd name="connsiteY3" fmla="*/ 258859 h 543040"/>
              <a:gd name="connsiteX4" fmla="*/ 1591256 w 2274848"/>
              <a:gd name="connsiteY4" fmla="*/ 543040 h 54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4848" h="543040">
                <a:moveTo>
                  <a:pt x="1591256" y="543040"/>
                </a:moveTo>
                <a:lnTo>
                  <a:pt x="0" y="2381"/>
                </a:lnTo>
                <a:lnTo>
                  <a:pt x="2047816" y="0"/>
                </a:lnTo>
                <a:lnTo>
                  <a:pt x="2274848" y="258859"/>
                </a:lnTo>
                <a:lnTo>
                  <a:pt x="1591256" y="543040"/>
                </a:lnTo>
                <a:close/>
              </a:path>
            </a:pathLst>
          </a:custGeom>
          <a:gradFill>
            <a:gsLst>
              <a:gs pos="39000">
                <a:srgbClr val="E2C1F7"/>
              </a:gs>
              <a:gs pos="0">
                <a:schemeClr val="accent3">
                  <a:lumMod val="20000"/>
                  <a:lumOff val="80000"/>
                </a:schemeClr>
              </a:gs>
              <a:gs pos="69000">
                <a:srgbClr val="E4C5F8"/>
              </a:gs>
            </a:gsLst>
            <a:lin ang="5400000" scaled="1"/>
          </a:gradFill>
          <a:ln w="19050">
            <a:noFill/>
            <a:miter lim="800000"/>
            <a:headEnd/>
            <a:tailEnd/>
          </a:ln>
          <a:effectLst/>
        </p:spPr>
        <p:txBody>
          <a:bodyPr lIns="164592" tIns="182880" rIns="45720" bIns="45720" anchor="t">
            <a:noAutofit/>
          </a:bodyPr>
          <a:lstStyle/>
          <a:p>
            <a:pPr defTabSz="895350">
              <a:spcBef>
                <a:spcPct val="100000"/>
              </a:spcBef>
              <a:buClr>
                <a:schemeClr val="tx2"/>
              </a:buClr>
            </a:pPr>
            <a:endParaRPr lang="en-US" sz="1400" b="1" dirty="0" err="1">
              <a:solidFill>
                <a:schemeClr val="accent3"/>
              </a:solidFill>
              <a:cs typeface="Arial" pitchFamily="34" charset="0"/>
            </a:endParaRPr>
          </a:p>
        </p:txBody>
      </p:sp>
      <p:sp>
        <p:nvSpPr>
          <p:cNvPr id="55" name="Freeform 54"/>
          <p:cNvSpPr/>
          <p:nvPr/>
        </p:nvSpPr>
        <p:spPr>
          <a:xfrm flipH="1">
            <a:off x="4740953" y="2818878"/>
            <a:ext cx="2274848" cy="543040"/>
          </a:xfrm>
          <a:custGeom>
            <a:avLst/>
            <a:gdLst>
              <a:gd name="connsiteX0" fmla="*/ 1538868 w 2274848"/>
              <a:gd name="connsiteY0" fmla="*/ 490653 h 490653"/>
              <a:gd name="connsiteX1" fmla="*/ 0 w 2274848"/>
              <a:gd name="connsiteY1" fmla="*/ 0 h 490653"/>
              <a:gd name="connsiteX2" fmla="*/ 2040673 w 2274848"/>
              <a:gd name="connsiteY2" fmla="*/ 0 h 490653"/>
              <a:gd name="connsiteX3" fmla="*/ 2274848 w 2274848"/>
              <a:gd name="connsiteY3" fmla="*/ 256478 h 490653"/>
              <a:gd name="connsiteX4" fmla="*/ 1538868 w 2274848"/>
              <a:gd name="connsiteY4" fmla="*/ 490653 h 490653"/>
              <a:gd name="connsiteX0" fmla="*/ 1591256 w 2274848"/>
              <a:gd name="connsiteY0" fmla="*/ 540659 h 540659"/>
              <a:gd name="connsiteX1" fmla="*/ 0 w 2274848"/>
              <a:gd name="connsiteY1" fmla="*/ 0 h 540659"/>
              <a:gd name="connsiteX2" fmla="*/ 2040673 w 2274848"/>
              <a:gd name="connsiteY2" fmla="*/ 0 h 540659"/>
              <a:gd name="connsiteX3" fmla="*/ 2274848 w 2274848"/>
              <a:gd name="connsiteY3" fmla="*/ 256478 h 540659"/>
              <a:gd name="connsiteX4" fmla="*/ 1591256 w 2274848"/>
              <a:gd name="connsiteY4" fmla="*/ 540659 h 540659"/>
              <a:gd name="connsiteX0" fmla="*/ 1591256 w 2274848"/>
              <a:gd name="connsiteY0" fmla="*/ 543040 h 543040"/>
              <a:gd name="connsiteX1" fmla="*/ 0 w 2274848"/>
              <a:gd name="connsiteY1" fmla="*/ 2381 h 543040"/>
              <a:gd name="connsiteX2" fmla="*/ 2047816 w 2274848"/>
              <a:gd name="connsiteY2" fmla="*/ 0 h 543040"/>
              <a:gd name="connsiteX3" fmla="*/ 2274848 w 2274848"/>
              <a:gd name="connsiteY3" fmla="*/ 258859 h 543040"/>
              <a:gd name="connsiteX4" fmla="*/ 1591256 w 2274848"/>
              <a:gd name="connsiteY4" fmla="*/ 543040 h 54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4848" h="543040">
                <a:moveTo>
                  <a:pt x="1591256" y="543040"/>
                </a:moveTo>
                <a:lnTo>
                  <a:pt x="0" y="2381"/>
                </a:lnTo>
                <a:lnTo>
                  <a:pt x="2047816" y="0"/>
                </a:lnTo>
                <a:lnTo>
                  <a:pt x="2274848" y="258859"/>
                </a:lnTo>
                <a:lnTo>
                  <a:pt x="1591256" y="543040"/>
                </a:lnTo>
                <a:close/>
              </a:path>
            </a:pathLst>
          </a:custGeom>
          <a:gradFill>
            <a:gsLst>
              <a:gs pos="39000">
                <a:srgbClr val="E2C1F7"/>
              </a:gs>
              <a:gs pos="0">
                <a:schemeClr val="accent3">
                  <a:lumMod val="20000"/>
                  <a:lumOff val="80000"/>
                </a:schemeClr>
              </a:gs>
              <a:gs pos="69000">
                <a:srgbClr val="E4C5F8"/>
              </a:gs>
            </a:gsLst>
            <a:lin ang="5400000" scaled="1"/>
          </a:gradFill>
          <a:ln w="19050">
            <a:noFill/>
            <a:miter lim="800000"/>
            <a:headEnd/>
            <a:tailEnd/>
          </a:ln>
          <a:effectLst/>
        </p:spPr>
        <p:txBody>
          <a:bodyPr lIns="164592" tIns="182880" rIns="45720" bIns="45720" anchor="t">
            <a:noAutofit/>
          </a:bodyPr>
          <a:lstStyle/>
          <a:p>
            <a:pPr defTabSz="895350">
              <a:spcBef>
                <a:spcPct val="100000"/>
              </a:spcBef>
              <a:buClr>
                <a:schemeClr val="tx2"/>
              </a:buClr>
            </a:pPr>
            <a:endParaRPr lang="en-US" sz="1400" b="1" dirty="0" err="1">
              <a:solidFill>
                <a:schemeClr val="accent3"/>
              </a:solidFill>
              <a:cs typeface="Arial" pitchFamily="34" charset="0"/>
            </a:endParaRPr>
          </a:p>
        </p:txBody>
      </p:sp>
      <p:sp>
        <p:nvSpPr>
          <p:cNvPr id="56" name="Freeform 55"/>
          <p:cNvSpPr/>
          <p:nvPr/>
        </p:nvSpPr>
        <p:spPr>
          <a:xfrm flipV="1">
            <a:off x="2384046" y="4411458"/>
            <a:ext cx="2274848" cy="543040"/>
          </a:xfrm>
          <a:custGeom>
            <a:avLst/>
            <a:gdLst>
              <a:gd name="connsiteX0" fmla="*/ 1538868 w 2274848"/>
              <a:gd name="connsiteY0" fmla="*/ 490653 h 490653"/>
              <a:gd name="connsiteX1" fmla="*/ 0 w 2274848"/>
              <a:gd name="connsiteY1" fmla="*/ 0 h 490653"/>
              <a:gd name="connsiteX2" fmla="*/ 2040673 w 2274848"/>
              <a:gd name="connsiteY2" fmla="*/ 0 h 490653"/>
              <a:gd name="connsiteX3" fmla="*/ 2274848 w 2274848"/>
              <a:gd name="connsiteY3" fmla="*/ 256478 h 490653"/>
              <a:gd name="connsiteX4" fmla="*/ 1538868 w 2274848"/>
              <a:gd name="connsiteY4" fmla="*/ 490653 h 490653"/>
              <a:gd name="connsiteX0" fmla="*/ 1591256 w 2274848"/>
              <a:gd name="connsiteY0" fmla="*/ 540659 h 540659"/>
              <a:gd name="connsiteX1" fmla="*/ 0 w 2274848"/>
              <a:gd name="connsiteY1" fmla="*/ 0 h 540659"/>
              <a:gd name="connsiteX2" fmla="*/ 2040673 w 2274848"/>
              <a:gd name="connsiteY2" fmla="*/ 0 h 540659"/>
              <a:gd name="connsiteX3" fmla="*/ 2274848 w 2274848"/>
              <a:gd name="connsiteY3" fmla="*/ 256478 h 540659"/>
              <a:gd name="connsiteX4" fmla="*/ 1591256 w 2274848"/>
              <a:gd name="connsiteY4" fmla="*/ 540659 h 540659"/>
              <a:gd name="connsiteX0" fmla="*/ 1591256 w 2274848"/>
              <a:gd name="connsiteY0" fmla="*/ 543040 h 543040"/>
              <a:gd name="connsiteX1" fmla="*/ 0 w 2274848"/>
              <a:gd name="connsiteY1" fmla="*/ 2381 h 543040"/>
              <a:gd name="connsiteX2" fmla="*/ 2047816 w 2274848"/>
              <a:gd name="connsiteY2" fmla="*/ 0 h 543040"/>
              <a:gd name="connsiteX3" fmla="*/ 2274848 w 2274848"/>
              <a:gd name="connsiteY3" fmla="*/ 258859 h 543040"/>
              <a:gd name="connsiteX4" fmla="*/ 1591256 w 2274848"/>
              <a:gd name="connsiteY4" fmla="*/ 543040 h 54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4848" h="543040">
                <a:moveTo>
                  <a:pt x="1591256" y="543040"/>
                </a:moveTo>
                <a:lnTo>
                  <a:pt x="0" y="2381"/>
                </a:lnTo>
                <a:lnTo>
                  <a:pt x="2047816" y="0"/>
                </a:lnTo>
                <a:lnTo>
                  <a:pt x="2274848" y="258859"/>
                </a:lnTo>
                <a:lnTo>
                  <a:pt x="1591256" y="543040"/>
                </a:lnTo>
                <a:close/>
              </a:path>
            </a:pathLst>
          </a:custGeom>
          <a:gradFill>
            <a:gsLst>
              <a:gs pos="0">
                <a:schemeClr val="bg2">
                  <a:lumMod val="90000"/>
                </a:schemeClr>
              </a:gs>
              <a:gs pos="39000">
                <a:schemeClr val="accent1">
                  <a:lumMod val="45000"/>
                  <a:lumOff val="55000"/>
                </a:schemeClr>
              </a:gs>
              <a:gs pos="69000">
                <a:schemeClr val="accent1">
                  <a:lumMod val="45000"/>
                  <a:lumOff val="55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5400000" scaled="1"/>
          </a:gradFill>
          <a:ln w="19050">
            <a:noFill/>
            <a:miter lim="800000"/>
            <a:headEnd/>
            <a:tailEnd/>
          </a:ln>
          <a:effectLst/>
        </p:spPr>
        <p:txBody>
          <a:bodyPr lIns="164592" tIns="182880" rIns="45720" bIns="45720" anchor="t">
            <a:noAutofit/>
          </a:bodyPr>
          <a:lstStyle/>
          <a:p>
            <a:pPr defTabSz="895350">
              <a:spcBef>
                <a:spcPct val="100000"/>
              </a:spcBef>
              <a:buClr>
                <a:schemeClr val="tx2"/>
              </a:buClr>
            </a:pPr>
            <a:endParaRPr lang="en-US" sz="1400" b="1" dirty="0" err="1">
              <a:solidFill>
                <a:schemeClr val="accent3"/>
              </a:solidFill>
              <a:cs typeface="Arial" pitchFamily="34" charset="0"/>
            </a:endParaRPr>
          </a:p>
        </p:txBody>
      </p:sp>
      <p:sp>
        <p:nvSpPr>
          <p:cNvPr id="59" name="Freeform 58"/>
          <p:cNvSpPr/>
          <p:nvPr/>
        </p:nvSpPr>
        <p:spPr>
          <a:xfrm flipH="1" flipV="1">
            <a:off x="4740953" y="4411458"/>
            <a:ext cx="2274848" cy="543040"/>
          </a:xfrm>
          <a:custGeom>
            <a:avLst/>
            <a:gdLst>
              <a:gd name="connsiteX0" fmla="*/ 1538868 w 2274848"/>
              <a:gd name="connsiteY0" fmla="*/ 490653 h 490653"/>
              <a:gd name="connsiteX1" fmla="*/ 0 w 2274848"/>
              <a:gd name="connsiteY1" fmla="*/ 0 h 490653"/>
              <a:gd name="connsiteX2" fmla="*/ 2040673 w 2274848"/>
              <a:gd name="connsiteY2" fmla="*/ 0 h 490653"/>
              <a:gd name="connsiteX3" fmla="*/ 2274848 w 2274848"/>
              <a:gd name="connsiteY3" fmla="*/ 256478 h 490653"/>
              <a:gd name="connsiteX4" fmla="*/ 1538868 w 2274848"/>
              <a:gd name="connsiteY4" fmla="*/ 490653 h 490653"/>
              <a:gd name="connsiteX0" fmla="*/ 1591256 w 2274848"/>
              <a:gd name="connsiteY0" fmla="*/ 540659 h 540659"/>
              <a:gd name="connsiteX1" fmla="*/ 0 w 2274848"/>
              <a:gd name="connsiteY1" fmla="*/ 0 h 540659"/>
              <a:gd name="connsiteX2" fmla="*/ 2040673 w 2274848"/>
              <a:gd name="connsiteY2" fmla="*/ 0 h 540659"/>
              <a:gd name="connsiteX3" fmla="*/ 2274848 w 2274848"/>
              <a:gd name="connsiteY3" fmla="*/ 256478 h 540659"/>
              <a:gd name="connsiteX4" fmla="*/ 1591256 w 2274848"/>
              <a:gd name="connsiteY4" fmla="*/ 540659 h 540659"/>
              <a:gd name="connsiteX0" fmla="*/ 1591256 w 2274848"/>
              <a:gd name="connsiteY0" fmla="*/ 543040 h 543040"/>
              <a:gd name="connsiteX1" fmla="*/ 0 w 2274848"/>
              <a:gd name="connsiteY1" fmla="*/ 2381 h 543040"/>
              <a:gd name="connsiteX2" fmla="*/ 2047816 w 2274848"/>
              <a:gd name="connsiteY2" fmla="*/ 0 h 543040"/>
              <a:gd name="connsiteX3" fmla="*/ 2274848 w 2274848"/>
              <a:gd name="connsiteY3" fmla="*/ 258859 h 543040"/>
              <a:gd name="connsiteX4" fmla="*/ 1591256 w 2274848"/>
              <a:gd name="connsiteY4" fmla="*/ 543040 h 54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4848" h="543040">
                <a:moveTo>
                  <a:pt x="1591256" y="543040"/>
                </a:moveTo>
                <a:lnTo>
                  <a:pt x="0" y="2381"/>
                </a:lnTo>
                <a:lnTo>
                  <a:pt x="2047816" y="0"/>
                </a:lnTo>
                <a:lnTo>
                  <a:pt x="2274848" y="258859"/>
                </a:lnTo>
                <a:lnTo>
                  <a:pt x="1591256" y="543040"/>
                </a:lnTo>
                <a:close/>
              </a:path>
            </a:pathLst>
          </a:custGeom>
          <a:gradFill>
            <a:gsLst>
              <a:gs pos="0">
                <a:schemeClr val="bg2">
                  <a:lumMod val="90000"/>
                </a:schemeClr>
              </a:gs>
              <a:gs pos="39000">
                <a:schemeClr val="accent1">
                  <a:lumMod val="45000"/>
                  <a:lumOff val="55000"/>
                </a:schemeClr>
              </a:gs>
              <a:gs pos="69000">
                <a:schemeClr val="accent1">
                  <a:lumMod val="45000"/>
                  <a:lumOff val="55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5400000" scaled="1"/>
          </a:gradFill>
          <a:ln w="19050">
            <a:noFill/>
            <a:miter lim="800000"/>
            <a:headEnd/>
            <a:tailEnd/>
          </a:ln>
          <a:effectLst/>
        </p:spPr>
        <p:txBody>
          <a:bodyPr lIns="164592" tIns="182880" rIns="45720" bIns="45720" anchor="t">
            <a:noAutofit/>
          </a:bodyPr>
          <a:lstStyle/>
          <a:p>
            <a:pPr defTabSz="895350">
              <a:spcBef>
                <a:spcPct val="100000"/>
              </a:spcBef>
              <a:buClr>
                <a:schemeClr val="tx2"/>
              </a:buClr>
            </a:pPr>
            <a:endParaRPr lang="en-US" sz="1400" b="1" dirty="0" err="1">
              <a:solidFill>
                <a:schemeClr val="accent3"/>
              </a:solidFill>
              <a:cs typeface="Arial" pitchFamily="34" charset="0"/>
            </a:endParaRPr>
          </a:p>
        </p:txBody>
      </p:sp>
      <p:sp>
        <p:nvSpPr>
          <p:cNvPr id="33" name="Rectangle 32"/>
          <p:cNvSpPr>
            <a:spLocks/>
          </p:cNvSpPr>
          <p:nvPr/>
        </p:nvSpPr>
        <p:spPr>
          <a:xfrm>
            <a:off x="6235233" y="3270969"/>
            <a:ext cx="2049359" cy="1232476"/>
          </a:xfrm>
          <a:prstGeom prst="rect">
            <a:avLst/>
          </a:prstGeom>
          <a:gradFill>
            <a:gsLst>
              <a:gs pos="0">
                <a:schemeClr val="bg2">
                  <a:lumMod val="90000"/>
                </a:schemeClr>
              </a:gs>
              <a:gs pos="39000">
                <a:schemeClr val="accent1">
                  <a:lumMod val="45000"/>
                  <a:lumOff val="55000"/>
                </a:schemeClr>
              </a:gs>
              <a:gs pos="69000">
                <a:schemeClr val="accent1">
                  <a:lumMod val="45000"/>
                  <a:lumOff val="55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5400000" scaled="1"/>
          </a:gradFill>
          <a:ln w="19050">
            <a:noFill/>
            <a:miter lim="800000"/>
            <a:headEnd/>
            <a:tailEnd/>
          </a:ln>
          <a:effectLst/>
        </p:spPr>
        <p:txBody>
          <a:bodyPr lIns="164592" tIns="182880" rIns="45720" bIns="45720" anchor="t">
            <a:noAutofit/>
          </a:bodyPr>
          <a:lstStyle/>
          <a:p>
            <a:pPr defTabSz="895350">
              <a:spcBef>
                <a:spcPct val="100000"/>
              </a:spcBef>
              <a:buClr>
                <a:schemeClr val="tx2"/>
              </a:buClr>
            </a:pPr>
            <a:endParaRPr lang="en-US" sz="1400" b="1" dirty="0" err="1">
              <a:solidFill>
                <a:schemeClr val="accent3"/>
              </a:solidFill>
              <a:cs typeface="Arial" pitchFamily="34" charset="0"/>
            </a:endParaRPr>
          </a:p>
        </p:txBody>
      </p:sp>
      <p:sp>
        <p:nvSpPr>
          <p:cNvPr id="36" name="Rectangle 35"/>
          <p:cNvSpPr>
            <a:spLocks/>
          </p:cNvSpPr>
          <p:nvPr/>
        </p:nvSpPr>
        <p:spPr>
          <a:xfrm>
            <a:off x="1115254" y="3270969"/>
            <a:ext cx="2049359" cy="1232476"/>
          </a:xfrm>
          <a:prstGeom prst="rect">
            <a:avLst/>
          </a:prstGeom>
          <a:gradFill>
            <a:gsLst>
              <a:gs pos="0">
                <a:schemeClr val="bg2">
                  <a:lumMod val="90000"/>
                </a:schemeClr>
              </a:gs>
              <a:gs pos="39000">
                <a:schemeClr val="accent1">
                  <a:lumMod val="45000"/>
                  <a:lumOff val="55000"/>
                </a:schemeClr>
              </a:gs>
              <a:gs pos="69000">
                <a:schemeClr val="accent1">
                  <a:lumMod val="45000"/>
                  <a:lumOff val="55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5400000" scaled="1"/>
          </a:gradFill>
          <a:ln w="19050">
            <a:noFill/>
            <a:miter lim="800000"/>
            <a:headEnd/>
            <a:tailEnd/>
          </a:ln>
          <a:effectLst/>
        </p:spPr>
        <p:txBody>
          <a:bodyPr lIns="164592" tIns="182880" rIns="45720" bIns="45720" anchor="t">
            <a:noAutofit/>
          </a:bodyPr>
          <a:lstStyle/>
          <a:p>
            <a:pPr defTabSz="895350">
              <a:spcBef>
                <a:spcPct val="100000"/>
              </a:spcBef>
              <a:buClr>
                <a:schemeClr val="tx2"/>
              </a:buClr>
            </a:pPr>
            <a:endParaRPr lang="en-US" sz="1400" b="1" dirty="0" err="1">
              <a:solidFill>
                <a:schemeClr val="accent3"/>
              </a:solidFill>
              <a:cs typeface="Arial" pitchFamily="34" charset="0"/>
            </a:endParaRPr>
          </a:p>
        </p:txBody>
      </p:sp>
      <p:sp>
        <p:nvSpPr>
          <p:cNvPr id="48" name="Freeform 47"/>
          <p:cNvSpPr/>
          <p:nvPr/>
        </p:nvSpPr>
        <p:spPr>
          <a:xfrm>
            <a:off x="5638800" y="3276600"/>
            <a:ext cx="594360" cy="1234440"/>
          </a:xfrm>
          <a:custGeom>
            <a:avLst/>
            <a:gdLst>
              <a:gd name="connsiteX0" fmla="*/ 45720 w 594360"/>
              <a:gd name="connsiteY0" fmla="*/ 327660 h 1234440"/>
              <a:gd name="connsiteX1" fmla="*/ 594360 w 594360"/>
              <a:gd name="connsiteY1" fmla="*/ 0 h 1234440"/>
              <a:gd name="connsiteX2" fmla="*/ 594360 w 594360"/>
              <a:gd name="connsiteY2" fmla="*/ 1234440 h 1234440"/>
              <a:gd name="connsiteX3" fmla="*/ 0 w 594360"/>
              <a:gd name="connsiteY3" fmla="*/ 944880 h 1234440"/>
              <a:gd name="connsiteX4" fmla="*/ 45720 w 594360"/>
              <a:gd name="connsiteY4" fmla="*/ 327660 h 1234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60" h="1234440">
                <a:moveTo>
                  <a:pt x="45720" y="327660"/>
                </a:moveTo>
                <a:lnTo>
                  <a:pt x="594360" y="0"/>
                </a:lnTo>
                <a:lnTo>
                  <a:pt x="594360" y="1234440"/>
                </a:lnTo>
                <a:lnTo>
                  <a:pt x="0" y="944880"/>
                </a:lnTo>
                <a:lnTo>
                  <a:pt x="45720" y="327660"/>
                </a:lnTo>
                <a:close/>
              </a:path>
            </a:pathLst>
          </a:custGeom>
          <a:gradFill>
            <a:gsLst>
              <a:gs pos="0">
                <a:schemeClr val="bg2">
                  <a:lumMod val="90000"/>
                </a:schemeClr>
              </a:gs>
              <a:gs pos="39000">
                <a:schemeClr val="accent1">
                  <a:lumMod val="45000"/>
                  <a:lumOff val="55000"/>
                </a:schemeClr>
              </a:gs>
              <a:gs pos="69000">
                <a:schemeClr val="accent1">
                  <a:lumMod val="45000"/>
                  <a:lumOff val="55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5400000" scaled="1"/>
          </a:gradFill>
          <a:ln w="19050">
            <a:noFill/>
            <a:miter lim="800000"/>
            <a:headEnd/>
            <a:tailEnd/>
          </a:ln>
          <a:effectLst/>
        </p:spPr>
        <p:txBody>
          <a:bodyPr lIns="164592" tIns="182880" rIns="45720" bIns="45720" anchor="t">
            <a:noAutofit/>
          </a:bodyPr>
          <a:lstStyle/>
          <a:p>
            <a:pPr defTabSz="895350">
              <a:spcBef>
                <a:spcPct val="100000"/>
              </a:spcBef>
              <a:buClr>
                <a:schemeClr val="tx2"/>
              </a:buClr>
            </a:pPr>
            <a:endParaRPr lang="en-US" sz="1400" b="1" dirty="0" err="1">
              <a:solidFill>
                <a:schemeClr val="accent3"/>
              </a:solidFill>
              <a:cs typeface="Arial" pitchFamily="34" charset="0"/>
            </a:endParaRPr>
          </a:p>
        </p:txBody>
      </p:sp>
      <p:sp>
        <p:nvSpPr>
          <p:cNvPr id="60" name="Freeform 59"/>
          <p:cNvSpPr/>
          <p:nvPr/>
        </p:nvSpPr>
        <p:spPr>
          <a:xfrm flipH="1">
            <a:off x="3164613" y="3269005"/>
            <a:ext cx="594360" cy="1234440"/>
          </a:xfrm>
          <a:custGeom>
            <a:avLst/>
            <a:gdLst>
              <a:gd name="connsiteX0" fmla="*/ 45720 w 594360"/>
              <a:gd name="connsiteY0" fmla="*/ 327660 h 1234440"/>
              <a:gd name="connsiteX1" fmla="*/ 594360 w 594360"/>
              <a:gd name="connsiteY1" fmla="*/ 0 h 1234440"/>
              <a:gd name="connsiteX2" fmla="*/ 594360 w 594360"/>
              <a:gd name="connsiteY2" fmla="*/ 1234440 h 1234440"/>
              <a:gd name="connsiteX3" fmla="*/ 0 w 594360"/>
              <a:gd name="connsiteY3" fmla="*/ 944880 h 1234440"/>
              <a:gd name="connsiteX4" fmla="*/ 45720 w 594360"/>
              <a:gd name="connsiteY4" fmla="*/ 327660 h 1234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60" h="1234440">
                <a:moveTo>
                  <a:pt x="45720" y="327660"/>
                </a:moveTo>
                <a:lnTo>
                  <a:pt x="594360" y="0"/>
                </a:lnTo>
                <a:lnTo>
                  <a:pt x="594360" y="1234440"/>
                </a:lnTo>
                <a:lnTo>
                  <a:pt x="0" y="944880"/>
                </a:lnTo>
                <a:lnTo>
                  <a:pt x="45720" y="327660"/>
                </a:lnTo>
                <a:close/>
              </a:path>
            </a:pathLst>
          </a:custGeom>
          <a:gradFill>
            <a:gsLst>
              <a:gs pos="0">
                <a:schemeClr val="bg2">
                  <a:lumMod val="90000"/>
                </a:schemeClr>
              </a:gs>
              <a:gs pos="39000">
                <a:schemeClr val="accent1">
                  <a:lumMod val="45000"/>
                  <a:lumOff val="55000"/>
                </a:schemeClr>
              </a:gs>
              <a:gs pos="69000">
                <a:schemeClr val="accent1">
                  <a:lumMod val="45000"/>
                  <a:lumOff val="55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5400000" scaled="1"/>
          </a:gradFill>
          <a:ln w="19050">
            <a:noFill/>
            <a:miter lim="800000"/>
            <a:headEnd/>
            <a:tailEnd/>
          </a:ln>
          <a:effectLst/>
        </p:spPr>
        <p:txBody>
          <a:bodyPr lIns="164592" tIns="182880" rIns="45720" bIns="45720" anchor="t">
            <a:noAutofit/>
          </a:bodyPr>
          <a:lstStyle/>
          <a:p>
            <a:pPr defTabSz="895350">
              <a:spcBef>
                <a:spcPct val="100000"/>
              </a:spcBef>
              <a:buClr>
                <a:schemeClr val="tx2"/>
              </a:buClr>
            </a:pPr>
            <a:endParaRPr lang="en-US" sz="1400" b="1" dirty="0" err="1">
              <a:solidFill>
                <a:schemeClr val="accent3"/>
              </a:solidFill>
              <a:cs typeface="Arial" pitchFamily="34" charset="0"/>
            </a:endParaRPr>
          </a:p>
        </p:txBody>
      </p:sp>
      <p:sp>
        <p:nvSpPr>
          <p:cNvPr id="69" name="Rectangle 69"/>
          <p:cNvSpPr txBox="1">
            <a:spLocks/>
          </p:cNvSpPr>
          <p:nvPr/>
        </p:nvSpPr>
        <p:spPr>
          <a:xfrm>
            <a:off x="1364361" y="3764097"/>
            <a:ext cx="155114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Tahoma"/>
                <a:ea typeface="Tahoma"/>
                <a:cs typeface="Tahoma"/>
                <a:sym typeface="Tahoma"/>
              </a:defRPr>
            </a:lvl1pPr>
            <a:lvl2pPr marL="197607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Tahoma"/>
                <a:ea typeface="Tahoma"/>
                <a:cs typeface="Tahoma"/>
                <a:sym typeface="Tahoma"/>
              </a:defRPr>
            </a:lvl2pPr>
            <a:lvl3pPr marL="466481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Tahoma"/>
                <a:ea typeface="Tahoma"/>
                <a:cs typeface="Tahoma"/>
                <a:sym typeface="Tahoma"/>
              </a:defRPr>
            </a:lvl3pPr>
            <a:lvl4pPr marL="626835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Tahoma"/>
                <a:ea typeface="Tahoma"/>
                <a:cs typeface="Tahoma"/>
                <a:sym typeface="Tahoma"/>
              </a:defRPr>
            </a:lvl4pPr>
            <a:lvl5pPr marL="765029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Tahoma"/>
                <a:ea typeface="Tahoma"/>
                <a:cs typeface="Tahoma"/>
                <a:sym typeface="Tahoma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Advisory</a:t>
            </a:r>
            <a:endParaRPr lang="en-US" dirty="0"/>
          </a:p>
        </p:txBody>
      </p:sp>
      <p:sp>
        <p:nvSpPr>
          <p:cNvPr id="73" name="Rectangle 73"/>
          <p:cNvSpPr txBox="1">
            <a:spLocks/>
          </p:cNvSpPr>
          <p:nvPr/>
        </p:nvSpPr>
        <p:spPr>
          <a:xfrm>
            <a:off x="2633153" y="2084830"/>
            <a:ext cx="155114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Tahoma"/>
                <a:ea typeface="Tahoma"/>
                <a:cs typeface="Tahoma"/>
                <a:sym typeface="Tahoma"/>
              </a:defRPr>
            </a:lvl1pPr>
            <a:lvl2pPr marL="197607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Tahoma"/>
                <a:ea typeface="Tahoma"/>
                <a:cs typeface="Tahoma"/>
                <a:sym typeface="Tahoma"/>
              </a:defRPr>
            </a:lvl2pPr>
            <a:lvl3pPr marL="466481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Tahoma"/>
                <a:ea typeface="Tahoma"/>
                <a:cs typeface="Tahoma"/>
                <a:sym typeface="Tahoma"/>
              </a:defRPr>
            </a:lvl3pPr>
            <a:lvl4pPr marL="626835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Tahoma"/>
                <a:ea typeface="Tahoma"/>
                <a:cs typeface="Tahoma"/>
                <a:sym typeface="Tahoma"/>
              </a:defRPr>
            </a:lvl4pPr>
            <a:lvl5pPr marL="765029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Tahoma"/>
                <a:ea typeface="Tahoma"/>
                <a:cs typeface="Tahoma"/>
                <a:sym typeface="Tahoma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Business Finance</a:t>
            </a:r>
            <a:endParaRPr lang="en-US" dirty="0"/>
          </a:p>
        </p:txBody>
      </p:sp>
      <p:sp>
        <p:nvSpPr>
          <p:cNvPr id="77" name="Rectangle 77"/>
          <p:cNvSpPr txBox="1">
            <a:spLocks/>
          </p:cNvSpPr>
          <p:nvPr/>
        </p:nvSpPr>
        <p:spPr>
          <a:xfrm>
            <a:off x="5215549" y="1937405"/>
            <a:ext cx="155114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Tahoma"/>
                <a:ea typeface="Tahoma"/>
                <a:cs typeface="Tahoma"/>
                <a:sym typeface="Tahoma"/>
              </a:defRPr>
            </a:lvl1pPr>
            <a:lvl2pPr marL="197607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Tahoma"/>
                <a:ea typeface="Tahoma"/>
                <a:cs typeface="Tahoma"/>
                <a:sym typeface="Tahoma"/>
              </a:defRPr>
            </a:lvl2pPr>
            <a:lvl3pPr marL="466481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Tahoma"/>
                <a:ea typeface="Tahoma"/>
                <a:cs typeface="Tahoma"/>
                <a:sym typeface="Tahoma"/>
              </a:defRPr>
            </a:lvl3pPr>
            <a:lvl4pPr marL="626835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Tahoma"/>
                <a:ea typeface="Tahoma"/>
                <a:cs typeface="Tahoma"/>
                <a:sym typeface="Tahoma"/>
              </a:defRPr>
            </a:lvl4pPr>
            <a:lvl5pPr marL="765029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Tahoma"/>
                <a:ea typeface="Tahoma"/>
                <a:cs typeface="Tahoma"/>
                <a:sym typeface="Tahoma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Al </a:t>
            </a:r>
            <a:r>
              <a:rPr lang="en-US" dirty="0" err="1" smtClean="0"/>
              <a:t>Dhameen</a:t>
            </a:r>
            <a:endParaRPr lang="en-US" dirty="0"/>
          </a:p>
        </p:txBody>
      </p:sp>
      <p:sp>
        <p:nvSpPr>
          <p:cNvPr id="81" name="Rectangle 81"/>
          <p:cNvSpPr txBox="1">
            <a:spLocks/>
          </p:cNvSpPr>
          <p:nvPr/>
        </p:nvSpPr>
        <p:spPr>
          <a:xfrm>
            <a:off x="6484340" y="3517875"/>
            <a:ext cx="1551144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Tahoma"/>
                <a:ea typeface="Tahoma"/>
                <a:cs typeface="Tahoma"/>
                <a:sym typeface="Tahoma"/>
              </a:defRPr>
            </a:lvl1pPr>
            <a:lvl2pPr marL="197607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Tahoma"/>
                <a:ea typeface="Tahoma"/>
                <a:cs typeface="Tahoma"/>
                <a:sym typeface="Tahoma"/>
              </a:defRPr>
            </a:lvl2pPr>
            <a:lvl3pPr marL="466481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Tahoma"/>
                <a:ea typeface="Tahoma"/>
                <a:cs typeface="Tahoma"/>
                <a:sym typeface="Tahoma"/>
              </a:defRPr>
            </a:lvl3pPr>
            <a:lvl4pPr marL="626835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Tahoma"/>
                <a:ea typeface="Tahoma"/>
                <a:cs typeface="Tahoma"/>
                <a:sym typeface="Tahoma"/>
              </a:defRPr>
            </a:lvl4pPr>
            <a:lvl5pPr marL="765029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Tahoma"/>
                <a:ea typeface="Tahoma"/>
                <a:cs typeface="Tahoma"/>
                <a:sym typeface="Tahoma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Export promotion and financing</a:t>
            </a:r>
          </a:p>
        </p:txBody>
      </p:sp>
      <p:sp>
        <p:nvSpPr>
          <p:cNvPr id="85" name="Rectangle 85"/>
          <p:cNvSpPr txBox="1">
            <a:spLocks/>
          </p:cNvSpPr>
          <p:nvPr/>
        </p:nvSpPr>
        <p:spPr>
          <a:xfrm>
            <a:off x="5215550" y="5320253"/>
            <a:ext cx="1551144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Tahoma"/>
                <a:ea typeface="Tahoma"/>
                <a:cs typeface="Tahoma"/>
                <a:sym typeface="Tahoma"/>
              </a:defRPr>
            </a:lvl1pPr>
            <a:lvl2pPr marL="197607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Tahoma"/>
                <a:ea typeface="Tahoma"/>
                <a:cs typeface="Tahoma"/>
                <a:sym typeface="Tahoma"/>
              </a:defRPr>
            </a:lvl2pPr>
            <a:lvl3pPr marL="466481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Tahoma"/>
                <a:ea typeface="Tahoma"/>
                <a:cs typeface="Tahoma"/>
                <a:sym typeface="Tahoma"/>
              </a:defRPr>
            </a:lvl3pPr>
            <a:lvl4pPr marL="626835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Tahoma"/>
                <a:ea typeface="Tahoma"/>
                <a:cs typeface="Tahoma"/>
                <a:sym typeface="Tahoma"/>
              </a:defRPr>
            </a:lvl4pPr>
            <a:lvl5pPr marL="765029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Tahoma"/>
                <a:ea typeface="Tahoma"/>
                <a:cs typeface="Tahoma"/>
                <a:sym typeface="Tahoma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Strategic procurement</a:t>
            </a:r>
          </a:p>
        </p:txBody>
      </p:sp>
      <p:sp>
        <p:nvSpPr>
          <p:cNvPr id="89" name="Rectangle 89"/>
          <p:cNvSpPr txBox="1">
            <a:spLocks/>
          </p:cNvSpPr>
          <p:nvPr/>
        </p:nvSpPr>
        <p:spPr>
          <a:xfrm>
            <a:off x="2633153" y="5443364"/>
            <a:ext cx="155114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Tahoma"/>
                <a:ea typeface="Tahoma"/>
                <a:cs typeface="Tahoma"/>
                <a:sym typeface="Tahoma"/>
              </a:defRPr>
            </a:lvl1pPr>
            <a:lvl2pPr marL="197607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Tahoma"/>
                <a:ea typeface="Tahoma"/>
                <a:cs typeface="Tahoma"/>
                <a:sym typeface="Tahoma"/>
              </a:defRPr>
            </a:lvl2pPr>
            <a:lvl3pPr marL="466481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Tahoma"/>
                <a:ea typeface="Tahoma"/>
                <a:cs typeface="Tahoma"/>
                <a:sym typeface="Tahoma"/>
              </a:defRPr>
            </a:lvl3pPr>
            <a:lvl4pPr marL="626835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Tahoma"/>
                <a:ea typeface="Tahoma"/>
                <a:cs typeface="Tahoma"/>
                <a:sym typeface="Tahoma"/>
              </a:defRPr>
            </a:lvl4pPr>
            <a:lvl5pPr marL="765029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Tahoma"/>
                <a:ea typeface="Tahoma"/>
                <a:cs typeface="Tahoma"/>
                <a:sym typeface="Tahoma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Equity</a:t>
            </a:r>
          </a:p>
        </p:txBody>
      </p:sp>
      <p:grpSp>
        <p:nvGrpSpPr>
          <p:cNvPr id="93" name="Group 92"/>
          <p:cNvGrpSpPr/>
          <p:nvPr/>
        </p:nvGrpSpPr>
        <p:grpSpPr>
          <a:xfrm>
            <a:off x="3652837" y="3080497"/>
            <a:ext cx="2094172" cy="1613420"/>
            <a:chOff x="3652837" y="3080497"/>
            <a:chExt cx="2094172" cy="1613420"/>
          </a:xfrm>
        </p:grpSpPr>
        <p:sp>
          <p:nvSpPr>
            <p:cNvPr id="6" name="Oval 5"/>
            <p:cNvSpPr/>
            <p:nvPr/>
          </p:nvSpPr>
          <p:spPr>
            <a:xfrm>
              <a:off x="3652837" y="3080497"/>
              <a:ext cx="2094172" cy="1613420"/>
            </a:xfrm>
            <a:prstGeom prst="ellipse">
              <a:avLst/>
            </a:prstGeom>
            <a:solidFill>
              <a:schemeClr val="accent3"/>
            </a:solidFill>
            <a:ln w="19050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" name="Rectangle 3"/>
            <p:cNvSpPr txBox="1"/>
            <p:nvPr/>
          </p:nvSpPr>
          <p:spPr>
            <a:xfrm>
              <a:off x="3910467" y="3776407"/>
              <a:ext cx="1578913" cy="221599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Tahoma"/>
                  <a:ea typeface="Tahoma"/>
                  <a:cs typeface="Tahoma"/>
                  <a:sym typeface="Tahoma"/>
                </a:defRPr>
              </a:lvl1pPr>
              <a:lvl2pPr marL="197607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Tahoma"/>
                  <a:ea typeface="Tahoma"/>
                  <a:cs typeface="Tahoma"/>
                  <a:sym typeface="Tahoma"/>
                </a:defRPr>
              </a:lvl2pPr>
              <a:lvl3pPr marL="466481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Tahoma"/>
                  <a:ea typeface="Tahoma"/>
                  <a:cs typeface="Tahoma"/>
                  <a:sym typeface="Tahoma"/>
                </a:defRPr>
              </a:lvl3pPr>
              <a:lvl4pPr marL="626835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Tahoma"/>
                  <a:ea typeface="Tahoma"/>
                  <a:cs typeface="Tahoma"/>
                  <a:sym typeface="Tahoma"/>
                </a:defRPr>
              </a:lvl4pPr>
              <a:lvl5pPr marL="765029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Tahoma"/>
                  <a:ea typeface="Tahoma"/>
                  <a:cs typeface="Tahoma"/>
                  <a:sym typeface="Tahoma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lnSpc>
                  <a:spcPct val="90000"/>
                </a:lnSpc>
              </a:pPr>
              <a:r>
                <a:rPr lang="en-US" b="1" dirty="0" smtClean="0">
                  <a:solidFill>
                    <a:schemeClr val="bg1"/>
                  </a:solidFill>
                </a:rPr>
                <a:t>Customer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070219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724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/m_precDefaultYear&gt;&lt;m_precDefaultQuarter&gt;&lt;m_bNumberIsYear val=&quot;0&quot;/&gt;&lt;m_strFormatTime&gt;Q%5&lt;/m_strFormatTime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m_strFormatTime&gt;%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LIMITERS" val="3.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p4rwmWRkeB8_O8WAAOC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xE6srfPkyyzybOhP9A3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drqglTEkqpwEGKLsXow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lq83TJKUSZEuZLbgD_z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JuRISXhkySNHDROgm5t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hnEj2mKkunucLKeHVPB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.xBuhCkkaTy77PEFxV.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xCJnJJ00ipvov5kf3c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CEbQy7_kaDVZCgNu4Wz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xEjw14LEGx.wYXE8Wy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sR0xEsLkaxgfQjNy8lp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5VSTh.q0.ysAfMgwy4G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sfJ8EOZk.uMAi7GDoQo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JFMNGAaES459LjV1jzF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aSDrnnd0yMR2e.XA0E7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bYCPvwhEuNjmFhFhZae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x2zC5h4ke6PNTAkc1PX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sPgvE5UUekgTpNW37oR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zDSKhId0Ww4b7kKvXT3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q9WyeP7kaZqrn7XuLPk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4sNTxIVk6fSYT4FEkeJ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zePhvMrUezdTFXuonv6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cVqLg8y0C_ltvKFJyi_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2bbYVAYEO1ILr977loz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LIMITERS" val="3.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QDB_CF_QT0117">
  <a:themeElements>
    <a:clrScheme name="Current">
      <a:dk1>
        <a:srgbClr val="000000"/>
      </a:dk1>
      <a:lt1>
        <a:srgbClr val="FFFFFF"/>
      </a:lt1>
      <a:dk2>
        <a:srgbClr val="5E6A71"/>
      </a:dk2>
      <a:lt2>
        <a:srgbClr val="DFE1E3"/>
      </a:lt2>
      <a:accent1>
        <a:srgbClr val="BEC5C9"/>
      </a:accent1>
      <a:accent2>
        <a:srgbClr val="808D95"/>
      </a:accent2>
      <a:accent3>
        <a:srgbClr val="490E6F"/>
      </a:accent3>
      <a:accent4>
        <a:srgbClr val="232A5C"/>
      </a:accent4>
      <a:accent5>
        <a:srgbClr val="FF6600"/>
      </a:accent5>
      <a:accent6>
        <a:srgbClr val="808080"/>
      </a:accent6>
      <a:hlink>
        <a:srgbClr val="490E6F"/>
      </a:hlink>
      <a:folHlink>
        <a:srgbClr val="232A5C"/>
      </a:folHlink>
    </a:clrScheme>
    <a:fontScheme name="Custom 136">
      <a:majorFont>
        <a:latin typeface="tahoma"/>
        <a:ea typeface="ＭＳ Ｐゴシック"/>
        <a:cs typeface=""/>
      </a:majorFont>
      <a:minorFont>
        <a:latin typeface="tahom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5E6A71"/>
        </a:dk2>
        <a:lt2>
          <a:srgbClr val="DFE1E3"/>
        </a:lt2>
        <a:accent1>
          <a:srgbClr val="BEC5C9"/>
        </a:accent1>
        <a:accent2>
          <a:srgbClr val="808D95"/>
        </a:accent2>
        <a:accent3>
          <a:srgbClr val="490E6F"/>
        </a:accent3>
        <a:accent4>
          <a:srgbClr val="232A5C"/>
        </a:accent4>
        <a:accent5>
          <a:srgbClr val="FF6600"/>
        </a:accent5>
        <a:accent6>
          <a:srgbClr val="808080"/>
        </a:accent6>
        <a:hlink>
          <a:srgbClr val="490E6F"/>
        </a:hlink>
        <a:folHlink>
          <a:srgbClr val="232A5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QDB_CF_QT0117</Template>
  <TotalTime>6273</TotalTime>
  <Words>193</Words>
  <Application>Microsoft Office PowerPoint</Application>
  <PresentationFormat>On-screen Show (4:3)</PresentationFormat>
  <Paragraphs>81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ＭＳ Ｐゴシック</vt:lpstr>
      <vt:lpstr>Arial</vt:lpstr>
      <vt:lpstr>tahoma</vt:lpstr>
      <vt:lpstr>tahoma</vt:lpstr>
      <vt:lpstr>QDB_CF_QT0117</vt:lpstr>
      <vt:lpstr>think-cell Slide</vt:lpstr>
      <vt:lpstr>Chart</vt:lpstr>
      <vt:lpstr>QDB PRESENTATION ALIDE HQ LIMA, PERU</vt:lpstr>
      <vt:lpstr>Qatar’s economy is highly dependent on oil compared to other countries</vt:lpstr>
      <vt:lpstr>Access to funding is one of the main obstacles to doing business in Qatar</vt:lpstr>
      <vt:lpstr>SME promotion around 6 pillars, focused on consistent customer journey 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Sofia Steffi</dc:creator>
  <cp:lastModifiedBy>Khalid Abdulla Al Mana</cp:lastModifiedBy>
  <cp:revision>1638</cp:revision>
  <cp:lastPrinted>2015-01-04T04:14:32Z</cp:lastPrinted>
  <dcterms:created xsi:type="dcterms:W3CDTF">2014-01-16T01:26:49Z</dcterms:created>
  <dcterms:modified xsi:type="dcterms:W3CDTF">2015-08-07T04:2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elivery Date">
    <vt:lpwstr>Date</vt:lpwstr>
  </property>
  <property fmtid="{D5CDD505-2E9C-101B-9397-08002B2CF9AE}" pid="3" name="DocID">
    <vt:lpwstr>Doc ID</vt:lpwstr>
  </property>
  <property fmtid="{D5CDD505-2E9C-101B-9397-08002B2CF9AE}" pid="4" name="Event">
    <vt:lpwstr/>
  </property>
  <property fmtid="{D5CDD505-2E9C-101B-9397-08002B2CF9AE}" pid="5" name="Final">
    <vt:bool>false</vt:bool>
  </property>
  <property fmtid="{D5CDD505-2E9C-101B-9397-08002B2CF9AE}" pid="6" name="LastEditedOfficeVersion">
    <vt:lpwstr>Office2010</vt:lpwstr>
  </property>
  <property fmtid="{D5CDD505-2E9C-101B-9397-08002B2CF9AE}" pid="7" name="NXPowerLiteLastOptimized">
    <vt:lpwstr>4268135</vt:lpwstr>
  </property>
  <property fmtid="{D5CDD505-2E9C-101B-9397-08002B2CF9AE}" pid="8" name="NXPowerLiteSettings">
    <vt:lpwstr>E7000400038000</vt:lpwstr>
  </property>
  <property fmtid="{D5CDD505-2E9C-101B-9397-08002B2CF9AE}" pid="9" name="NXPowerLiteVersion">
    <vt:lpwstr>D5.0.5</vt:lpwstr>
  </property>
  <property fmtid="{D5CDD505-2E9C-101B-9397-08002B2CF9AE}" pid="10" name="Office2003EditCount">
    <vt:lpwstr>0</vt:lpwstr>
  </property>
  <property fmtid="{D5CDD505-2E9C-101B-9397-08002B2CF9AE}" pid="11" name="Office2010EditCount">
    <vt:lpwstr>1</vt:lpwstr>
  </property>
  <property fmtid="{D5CDD505-2E9C-101B-9397-08002B2CF9AE}" pid="12" name="Title">
    <vt:lpwstr>Title</vt:lpwstr>
  </property>
  <property fmtid="{D5CDD505-2E9C-101B-9397-08002B2CF9AE}" pid="13" name="VGCompatibilityCheck Run By">
    <vt:lpwstr>Saranya S</vt:lpwstr>
  </property>
  <property fmtid="{D5CDD505-2E9C-101B-9397-08002B2CF9AE}" pid="14" name="VGCompatibilityCheck Run On ">
    <vt:lpwstr>1/15/2014 2:56:11 PM</vt:lpwstr>
  </property>
  <property fmtid="{D5CDD505-2E9C-101B-9397-08002B2CF9AE}" pid="15" name="Office2010WasSaved">
    <vt:lpwstr>1</vt:lpwstr>
  </property>
</Properties>
</file>